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5"/>
  </p:notesMasterIdLst>
  <p:handoutMasterIdLst>
    <p:handoutMasterId r:id="rId6"/>
  </p:handoutMasterIdLst>
  <p:sldIdLst>
    <p:sldId id="256" r:id="rId2"/>
    <p:sldId id="263" r:id="rId3"/>
    <p:sldId id="282" r:id="rId4"/>
  </p:sldIdLst>
  <p:sldSz cx="9906000" cy="6858000" type="A4"/>
  <p:notesSz cx="6794500" cy="9931400"/>
  <p:custDataLst>
    <p:tags r:id="rId7"/>
  </p:custDataLst>
  <p:defaultTextStyle>
    <a:defPPr>
      <a:defRPr lang="en-US"/>
    </a:defPPr>
    <a:lvl1pPr marL="0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36433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72866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609298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45731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82164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2" pos="466" userDrawn="1">
          <p15:clr>
            <a:srgbClr val="A4A3A4"/>
          </p15:clr>
        </p15:guide>
        <p15:guide id="5" orient="horz" pos="777" userDrawn="1">
          <p15:clr>
            <a:srgbClr val="A4A3A4"/>
          </p15:clr>
        </p15:guide>
        <p15:guide id="6" orient="horz" pos="3997" userDrawn="1">
          <p15:clr>
            <a:srgbClr val="A4A3A4"/>
          </p15:clr>
        </p15:guide>
        <p15:guide id="11" pos="5919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9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ania Beard" initials="TB" lastIdx="0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AA876"/>
    <a:srgbClr val="3188B4"/>
    <a:srgbClr val="881946"/>
    <a:srgbClr val="FFFFFF"/>
    <a:srgbClr val="EF4951"/>
    <a:srgbClr val="0889A8"/>
    <a:srgbClr val="918A87"/>
    <a:srgbClr val="F3B11C"/>
    <a:srgbClr val="606060"/>
    <a:srgbClr val="FFA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834" autoAdjust="0"/>
    <p:restoredTop sz="93933" autoAdjust="0"/>
  </p:normalViewPr>
  <p:slideViewPr>
    <p:cSldViewPr snapToGrid="0" snapToObjects="1">
      <p:cViewPr varScale="1">
        <p:scale>
          <a:sx n="66" d="100"/>
          <a:sy n="66" d="100"/>
        </p:scale>
        <p:origin x="-1542" y="-108"/>
      </p:cViewPr>
      <p:guideLst>
        <p:guide orient="horz" pos="795"/>
        <p:guide orient="horz" pos="3997"/>
        <p:guide pos="238"/>
        <p:guide pos="593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46" d="100"/>
          <a:sy n="46" d="100"/>
        </p:scale>
        <p:origin x="-3036" y="-108"/>
      </p:cViewPr>
      <p:guideLst>
        <p:guide orient="horz" pos="3129"/>
        <p:guide pos="2140"/>
      </p:guideLst>
    </p:cSldViewPr>
  </p:notesViewPr>
  <p:gridSpacing cx="360045" cy="36004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heme" Target="theme/theme1.xml"/><Relationship Id="rId5" Type="http://schemas.openxmlformats.org/officeDocument/2006/relationships/notesMaster" Target="notesMasters/notesMaster1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4813" cy="276999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algn="l">
              <a:defRPr sz="1200"/>
            </a:lvl1pPr>
          </a:lstStyle>
          <a:p>
            <a:endParaRPr lang="en-US">
              <a:latin typeface="Lato" panose="020F0502020204030203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8101" y="1"/>
            <a:ext cx="2944813" cy="276999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algn="r">
              <a:defRPr sz="1200"/>
            </a:lvl1pPr>
          </a:lstStyle>
          <a:p>
            <a:fld id="{F281FD4D-DBC1-48D3-B89B-C4E8200DB7F9}" type="datetimeFigureOut">
              <a:rPr lang="en-US" smtClean="0">
                <a:latin typeface="Lato" panose="020F0502020204030203" pitchFamily="34" charset="0"/>
              </a:rPr>
              <a:t>23-Oct-18</a:t>
            </a:fld>
            <a:endParaRPr lang="en-US">
              <a:latin typeface="Lato" panose="020F0502020204030203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652817"/>
            <a:ext cx="2944813" cy="276999"/>
          </a:xfrm>
          <a:prstGeom prst="rect">
            <a:avLst/>
          </a:prstGeom>
        </p:spPr>
        <p:txBody>
          <a:bodyPr vert="horz" wrap="square" lIns="91440" tIns="45720" rIns="91440" bIns="45720" rtlCol="0" anchor="b">
            <a:spAutoFit/>
          </a:bodyPr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8101" y="9652817"/>
            <a:ext cx="2944813" cy="276999"/>
          </a:xfrm>
          <a:prstGeom prst="rect">
            <a:avLst/>
          </a:prstGeom>
        </p:spPr>
        <p:txBody>
          <a:bodyPr vert="horz" wrap="square" lIns="91440" tIns="45720" rIns="91440" bIns="45720" rtlCol="0" anchor="b">
            <a:spAutoFit/>
          </a:bodyPr>
          <a:lstStyle>
            <a:lvl1pPr algn="r">
              <a:defRPr sz="1200"/>
            </a:lvl1pPr>
          </a:lstStyle>
          <a:p>
            <a:fld id="{53B1290F-167B-45E6-BC35-54AB56131F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09244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4283" cy="276999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algn="l">
              <a:defRPr sz="1200">
                <a:latin typeface="Lato" panose="020F050202020403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8646" y="1"/>
            <a:ext cx="2944283" cy="276999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algn="r">
              <a:defRPr sz="1200">
                <a:latin typeface="Lato" panose="020F0502020204030203" pitchFamily="34" charset="0"/>
              </a:defRPr>
            </a:lvl1pPr>
          </a:lstStyle>
          <a:p>
            <a:fld id="{C4BB39B2-2D76-4C96-9F7D-A71A2267E735}" type="datetimeFigureOut">
              <a:rPr lang="en-US" smtClean="0"/>
              <a:pPr/>
              <a:t>23-Oct-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61925" y="544513"/>
            <a:ext cx="6470650" cy="4479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60741" y="5127272"/>
            <a:ext cx="6473021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654403"/>
            <a:ext cx="2944283" cy="276999"/>
          </a:xfrm>
          <a:prstGeom prst="rect">
            <a:avLst/>
          </a:prstGeom>
        </p:spPr>
        <p:txBody>
          <a:bodyPr vert="horz" wrap="square" lIns="91440" tIns="45720" rIns="91440" bIns="45720" rtlCol="0" anchor="b">
            <a:spAutoFit/>
          </a:bodyPr>
          <a:lstStyle>
            <a:lvl1pPr algn="l">
              <a:defRPr sz="1200">
                <a:latin typeface="Lato" panose="020F050202020403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8646" y="9654403"/>
            <a:ext cx="2944283" cy="276999"/>
          </a:xfrm>
          <a:prstGeom prst="rect">
            <a:avLst/>
          </a:prstGeom>
        </p:spPr>
        <p:txBody>
          <a:bodyPr vert="horz" wrap="square" lIns="91440" tIns="45720" rIns="91440" bIns="45720" rtlCol="0" anchor="b">
            <a:spAutoFit/>
          </a:bodyPr>
          <a:lstStyle>
            <a:lvl1pPr algn="r">
              <a:defRPr sz="1200">
                <a:latin typeface="Lato" panose="020F0502020204030203" pitchFamily="34" charset="0"/>
              </a:defRPr>
            </a:lvl1pPr>
          </a:lstStyle>
          <a:p>
            <a:fld id="{25D28593-68A0-4B9C-B297-0A4C245441A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52905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72866" rtl="0" eaLnBrk="1" latinLnBrk="0" hangingPunct="1">
      <a:defRPr sz="1800" b="0" kern="1200">
        <a:solidFill>
          <a:schemeClr val="tx1"/>
        </a:solidFill>
        <a:latin typeface="Lato" panose="020F0502020204030203" pitchFamily="34" charset="0"/>
        <a:ea typeface="+mn-ea"/>
        <a:cs typeface="+mn-cs"/>
      </a:defRPr>
    </a:lvl1pPr>
    <a:lvl2pPr marL="536433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72866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609298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145731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82164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hyperlink" Target="http://www.presentationdepot.com/" TargetMode="Externa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3" y="2"/>
          <a:ext cx="17198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691" name="think-cell Slide" r:id="rId4" imgW="383" imgH="385" progId="TCLayout.ActiveDocument.1">
                  <p:embed/>
                </p:oleObj>
              </mc:Choice>
              <mc:Fallback>
                <p:oleObj name="think-cell Slide" r:id="rId4" imgW="383" imgH="38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" y="2"/>
                        <a:ext cx="171980" cy="1587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Subtitle 2">
            <a:extLst>
              <a:ext uri="{FF2B5EF4-FFF2-40B4-BE49-F238E27FC236}">
                <a16:creationId xmlns="" xmlns:a16="http://schemas.microsoft.com/office/drawing/2014/main" id="{0FEF2971-18CA-A447-B977-0E8BA063D8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2286000" y="3993160"/>
            <a:ext cx="5334000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>
              <a:spcAft>
                <a:spcPts val="0"/>
              </a:spcAft>
              <a:buNone/>
              <a:defRPr sz="1400" b="0" cap="all" spc="3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 marL="536433" indent="0" algn="ctr">
              <a:buNone/>
              <a:defRPr sz="2300"/>
            </a:lvl2pPr>
            <a:lvl3pPr marL="1072866" indent="0" algn="ctr">
              <a:buNone/>
              <a:defRPr sz="2100"/>
            </a:lvl3pPr>
            <a:lvl4pPr marL="1609298" indent="0" algn="ctr">
              <a:buNone/>
              <a:defRPr sz="1900"/>
            </a:lvl4pPr>
            <a:lvl5pPr marL="2145731" indent="0" algn="ctr">
              <a:buNone/>
              <a:defRPr sz="1900"/>
            </a:lvl5pPr>
            <a:lvl6pPr marL="2682164" indent="0" algn="ctr">
              <a:buNone/>
              <a:defRPr sz="1900"/>
            </a:lvl6pPr>
            <a:lvl7pPr marL="3218597" indent="0" algn="ctr">
              <a:buNone/>
              <a:defRPr sz="1900"/>
            </a:lvl7pPr>
            <a:lvl8pPr marL="3755029" indent="0" algn="ctr">
              <a:buNone/>
              <a:defRPr sz="1900"/>
            </a:lvl8pPr>
            <a:lvl9pPr marL="4291462" indent="0" algn="ctr">
              <a:buNone/>
              <a:defRPr sz="1900"/>
            </a:lvl9pPr>
          </a:lstStyle>
          <a:p>
            <a:r>
              <a:rPr lang="en-US" dirty="0"/>
              <a:t>Sub-title and date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="" xmlns:a16="http://schemas.microsoft.com/office/drawing/2014/main" id="{21B53F68-7CEB-4F4B-A468-2B1D397F0E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669316" y="2757411"/>
            <a:ext cx="6567369" cy="646331"/>
          </a:xfrm>
        </p:spPr>
        <p:txBody>
          <a:bodyPr wrap="square" lIns="0" tIns="0" rIns="0" bIns="0" anchor="b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sz="42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Title of the Presentation</a:t>
            </a:r>
            <a:endParaRPr lang="en-US" dirty="0"/>
          </a:p>
        </p:txBody>
      </p:sp>
      <p:cxnSp>
        <p:nvCxnSpPr>
          <p:cNvPr id="24" name="Line">
            <a:extLst>
              <a:ext uri="{FF2B5EF4-FFF2-40B4-BE49-F238E27FC236}">
                <a16:creationId xmlns="" xmlns:a16="http://schemas.microsoft.com/office/drawing/2014/main" id="{E277333D-8D22-DE4D-BED7-4452956ECF14}"/>
              </a:ext>
            </a:extLst>
          </p:cNvPr>
          <p:cNvCxnSpPr>
            <a:cxnSpLocks/>
          </p:cNvCxnSpPr>
          <p:nvPr userDrawn="1"/>
        </p:nvCxnSpPr>
        <p:spPr>
          <a:xfrm>
            <a:off x="4724400" y="3709468"/>
            <a:ext cx="457200" cy="0"/>
          </a:xfrm>
          <a:prstGeom prst="line">
            <a:avLst/>
          </a:prstGeom>
          <a:ln w="28575">
            <a:solidFill>
              <a:srgbClr val="3188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9"/>
          <p:cNvSpPr>
            <a:spLocks noChangeArrowheads="1"/>
          </p:cNvSpPr>
          <p:nvPr userDrawn="1"/>
        </p:nvSpPr>
        <p:spPr bwMode="auto">
          <a:xfrm>
            <a:off x="0" y="2324100"/>
            <a:ext cx="228600" cy="2209800"/>
          </a:xfrm>
          <a:prstGeom prst="rect">
            <a:avLst/>
          </a:prstGeom>
          <a:solidFill>
            <a:srgbClr val="2AA87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570949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192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2298">
          <p15:clr>
            <a:srgbClr val="FBAE40"/>
          </p15:clr>
        </p15:guide>
        <p15:guide id="4" orient="horz" pos="2432">
          <p15:clr>
            <a:srgbClr val="FBAE40"/>
          </p15:clr>
        </p15:guide>
        <p15:guide id="5" orient="horz" pos="2568">
          <p15:clr>
            <a:srgbClr val="FBAE40"/>
          </p15:clr>
        </p15:guide>
        <p15:guide id="6" orient="horz" pos="2702">
          <p15:clr>
            <a:srgbClr val="FBAE40"/>
          </p15:clr>
        </p15:guide>
        <p15:guide id="7" orient="horz" pos="2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8908524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640" name="think-cell Slide" r:id="rId5" imgW="383" imgH="385" progId="TCLayout.ActiveDocument.1">
                  <p:embed/>
                </p:oleObj>
              </mc:Choice>
              <mc:Fallback>
                <p:oleObj name="think-cell Slide" r:id="rId5" imgW="383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400" b="0" i="0" kern="1200" baseline="0" dirty="0">
              <a:solidFill>
                <a:schemeClr val="tx1"/>
              </a:solidFill>
              <a:latin typeface="Lato"/>
              <a:ea typeface="+mn-ea"/>
              <a:cs typeface="+mn-cs"/>
              <a:sym typeface="Lato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77371" y="292016"/>
            <a:ext cx="9019041" cy="400110"/>
          </a:xfrm>
        </p:spPr>
        <p:txBody>
          <a:bodyPr wrap="square" anchor="ctr">
            <a:spAutoFit/>
          </a:bodyPr>
          <a:lstStyle>
            <a:lvl1pPr>
              <a:defRPr sz="260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Title of the slide</a:t>
            </a:r>
            <a:endParaRPr lang="en-US" dirty="0"/>
          </a:p>
        </p:txBody>
      </p:sp>
      <p:sp>
        <p:nvSpPr>
          <p:cNvPr id="18" name="Text Placeholder 2"/>
          <p:cNvSpPr>
            <a:spLocks noGrp="1"/>
          </p:cNvSpPr>
          <p:nvPr>
            <p:ph idx="1" hasCustomPrompt="1"/>
          </p:nvPr>
        </p:nvSpPr>
        <p:spPr bwMode="gray">
          <a:xfrm>
            <a:off x="377371" y="1257300"/>
            <a:ext cx="9019042" cy="50673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dirty="0">
                <a:solidFill>
                  <a:schemeClr val="tx1"/>
                </a:solidFill>
                <a:latin typeface="+mn-lt"/>
              </a:defRPr>
            </a:lvl1pPr>
            <a:lvl2pPr>
              <a:defRPr lang="en-US" dirty="0">
                <a:solidFill>
                  <a:schemeClr val="tx1"/>
                </a:solidFill>
                <a:latin typeface="+mn-lt"/>
              </a:defRPr>
            </a:lvl2pPr>
            <a:lvl3pPr>
              <a:defRPr lang="en-US" dirty="0">
                <a:solidFill>
                  <a:schemeClr val="tx1"/>
                </a:solidFill>
                <a:latin typeface="+mn-lt"/>
              </a:defRPr>
            </a:lvl3pPr>
            <a:lvl4pPr>
              <a:defRPr lang="en-US" dirty="0">
                <a:solidFill>
                  <a:schemeClr val="tx1"/>
                </a:solidFill>
                <a:latin typeface="+mn-lt"/>
              </a:defRPr>
            </a:lvl4pPr>
            <a:lvl5pPr>
              <a:defRPr lang="en-US" dirty="0" smtClean="0">
                <a:solidFill>
                  <a:schemeClr val="tx1"/>
                </a:solidFill>
                <a:latin typeface="+mn-lt"/>
              </a:defRPr>
            </a:lvl5pPr>
            <a:lvl6pPr>
              <a:defRPr lang="en-US" dirty="0" smtClean="0">
                <a:solidFill>
                  <a:schemeClr val="tx1"/>
                </a:solidFill>
                <a:latin typeface="+mn-lt"/>
              </a:defRPr>
            </a:lvl6pPr>
            <a:lvl7pPr>
              <a:defRPr lang="en-US" dirty="0" smtClean="0">
                <a:solidFill>
                  <a:schemeClr val="tx1"/>
                </a:solidFill>
                <a:latin typeface="+mn-lt"/>
              </a:defRPr>
            </a:lvl7pPr>
            <a:lvl8pPr>
              <a:defRPr lang="en-US" dirty="0" smtClean="0">
                <a:solidFill>
                  <a:schemeClr val="tx1"/>
                </a:solidFill>
                <a:latin typeface="+mn-lt"/>
              </a:defRPr>
            </a:lvl8pPr>
            <a:lvl9pPr>
              <a:defRPr lang="en-US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</a:t>
            </a:r>
            <a:r>
              <a:rPr lang="en-US" dirty="0" smtClean="0"/>
              <a:t>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  <a:endParaRPr lang="en-US" dirty="0"/>
          </a:p>
        </p:txBody>
      </p:sp>
      <p:sp>
        <p:nvSpPr>
          <p:cNvPr id="25" name="Rectangle 29"/>
          <p:cNvSpPr>
            <a:spLocks noChangeArrowheads="1"/>
          </p:cNvSpPr>
          <p:nvPr userDrawn="1"/>
        </p:nvSpPr>
        <p:spPr bwMode="auto">
          <a:xfrm>
            <a:off x="0" y="2324100"/>
            <a:ext cx="228600" cy="2209800"/>
          </a:xfrm>
          <a:prstGeom prst="rect">
            <a:avLst/>
          </a:prstGeom>
          <a:solidFill>
            <a:srgbClr val="2AA87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10753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/>
          </p:cNvSpPr>
          <p:nvPr userDrawn="1"/>
        </p:nvSpPr>
        <p:spPr>
          <a:xfrm>
            <a:off x="1524000" y="2175934"/>
            <a:ext cx="6858000" cy="2506133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r>
              <a:rPr lang="en-US" sz="2000" kern="1200" dirty="0" smtClean="0">
                <a:solidFill>
                  <a:schemeClr val="tx1"/>
                </a:solidFill>
                <a:ea typeface="+mn-ea"/>
                <a:cs typeface="Arial" pitchFamily="34" charset="0"/>
              </a:rPr>
              <a:t>If you need assistance with producing/formatting your PowerPoint presentations, please visit us at </a:t>
            </a:r>
            <a:r>
              <a:rPr lang="en-US" sz="2000" kern="1200" dirty="0" smtClean="0">
                <a:solidFill>
                  <a:schemeClr val="tx1"/>
                </a:solidFill>
                <a:ea typeface="+mn-ea"/>
                <a:cs typeface="Arial" pitchFamily="34" charset="0"/>
                <a:hlinkClick r:id="rId2"/>
              </a:rPr>
              <a:t>www.presentationdepot.com</a:t>
            </a:r>
            <a:r>
              <a:rPr lang="en-US" sz="2000" kern="1200" dirty="0" smtClean="0">
                <a:solidFill>
                  <a:schemeClr val="tx1"/>
                </a:solidFill>
                <a:ea typeface="+mn-ea"/>
                <a:cs typeface="Arial" pitchFamily="34" charset="0"/>
              </a:rPr>
              <a:t/>
            </a:r>
            <a:br>
              <a:rPr lang="en-US" sz="2000" kern="1200" dirty="0" smtClean="0">
                <a:solidFill>
                  <a:schemeClr val="tx1"/>
                </a:solidFill>
                <a:ea typeface="+mn-ea"/>
                <a:cs typeface="Arial" pitchFamily="34" charset="0"/>
              </a:rPr>
            </a:br>
            <a:r>
              <a:rPr lang="en-US" sz="2000" kern="1200" dirty="0" smtClean="0">
                <a:solidFill>
                  <a:schemeClr val="tx1"/>
                </a:solidFill>
                <a:ea typeface="+mn-ea"/>
                <a:cs typeface="Arial" pitchFamily="34" charset="0"/>
              </a:rPr>
              <a:t>and get in touch with us through our contact page</a:t>
            </a:r>
          </a:p>
          <a:p>
            <a:pPr algn="ctr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r>
              <a:rPr lang="en-US" sz="2000" kern="1200" dirty="0" smtClean="0">
                <a:solidFill>
                  <a:schemeClr val="tx1"/>
                </a:solidFill>
                <a:ea typeface="+mn-ea"/>
                <a:cs typeface="Arial" pitchFamily="34" charset="0"/>
              </a:rPr>
              <a:t/>
            </a:r>
            <a:br>
              <a:rPr lang="en-US" sz="2000" kern="1200" dirty="0" smtClean="0">
                <a:solidFill>
                  <a:schemeClr val="tx1"/>
                </a:solidFill>
                <a:ea typeface="+mn-ea"/>
                <a:cs typeface="Arial" pitchFamily="34" charset="0"/>
              </a:rPr>
            </a:br>
            <a:r>
              <a:rPr lang="en-US" sz="2800" b="1" kern="1200" dirty="0" smtClean="0">
                <a:solidFill>
                  <a:schemeClr val="tx1"/>
                </a:solidFill>
                <a:ea typeface="+mn-ea"/>
                <a:cs typeface="Arial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797673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529628749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025" name="think-cell Slide" r:id="rId7" imgW="383" imgH="385" progId="TCLayout.ActiveDocument.1">
                  <p:embed/>
                </p:oleObj>
              </mc:Choice>
              <mc:Fallback>
                <p:oleObj name="think-cell Slide" r:id="rId7" imgW="383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77371" y="292016"/>
            <a:ext cx="9019041" cy="40011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7371" y="1257300"/>
            <a:ext cx="9019041" cy="498796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</a:t>
            </a:r>
          </a:p>
          <a:p>
            <a:pPr lvl="1"/>
            <a:r>
              <a:rPr lang="en-US" dirty="0"/>
              <a:t>Second level bullet point</a:t>
            </a:r>
          </a:p>
          <a:p>
            <a:pPr lvl="2"/>
            <a:r>
              <a:rPr lang="en-US" dirty="0"/>
              <a:t>Third level bullet point</a:t>
            </a:r>
          </a:p>
          <a:p>
            <a:pPr lvl="3"/>
            <a:r>
              <a:rPr lang="en-US" dirty="0"/>
              <a:t>Fourth level bullet point</a:t>
            </a:r>
          </a:p>
          <a:p>
            <a:pPr lvl="4"/>
            <a:r>
              <a:rPr lang="en-US" dirty="0"/>
              <a:t>Fifth level bullet point</a:t>
            </a:r>
          </a:p>
          <a:p>
            <a:pPr lvl="5"/>
            <a:r>
              <a:rPr lang="en-US" dirty="0"/>
              <a:t>Sixth level bullet point</a:t>
            </a:r>
          </a:p>
          <a:p>
            <a:pPr lvl="6"/>
            <a:r>
              <a:rPr lang="en-US" dirty="0"/>
              <a:t>Seventh level bullet point</a:t>
            </a:r>
          </a:p>
          <a:p>
            <a:pPr lvl="7"/>
            <a:r>
              <a:rPr lang="en-US" dirty="0"/>
              <a:t>Eighth level bullet point</a:t>
            </a:r>
          </a:p>
          <a:p>
            <a:pPr lvl="8"/>
            <a:r>
              <a:rPr lang="en-US" dirty="0"/>
              <a:t>Ninth level bullet point</a:t>
            </a:r>
          </a:p>
        </p:txBody>
      </p:sp>
    </p:spTree>
    <p:extLst>
      <p:ext uri="{BB962C8B-B14F-4D97-AF65-F5344CB8AC3E}">
        <p14:creationId xmlns:p14="http://schemas.microsoft.com/office/powerpoint/2010/main" val="27359141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782" r:id="rId2"/>
    <p:sldLayoutId id="2147483844" r:id="rId3"/>
  </p:sldLayoutIdLst>
  <p:timing>
    <p:tnLst>
      <p:par>
        <p:cTn id="1" dur="indefinite" restart="never" nodeType="tmRoot"/>
      </p:par>
    </p:tnLst>
  </p:timing>
  <p:hf hdr="0"/>
  <p:txStyles>
    <p:titleStyle>
      <a:lvl1pPr algn="l" defTabSz="1072866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Arial" pitchFamily="34" charset="0"/>
        </a:defRPr>
      </a:lvl1pPr>
    </p:titleStyle>
    <p:bodyStyle>
      <a:lvl1pPr marL="180975" indent="-180975" algn="l" defTabSz="1072866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400" kern="1200">
          <a:solidFill>
            <a:srgbClr val="606060"/>
          </a:solidFill>
          <a:latin typeface="+mn-lt"/>
          <a:ea typeface="+mn-ea"/>
          <a:cs typeface="Arial" pitchFamily="34" charset="0"/>
        </a:defRPr>
      </a:lvl1pPr>
      <a:lvl2pPr marL="357188" indent="-176213" algn="l" defTabSz="1072866" rtl="0" eaLnBrk="1" latinLnBrk="0" hangingPunct="1">
        <a:lnSpc>
          <a:spcPct val="100000"/>
        </a:lnSpc>
        <a:spcBef>
          <a:spcPts val="0"/>
        </a:spcBef>
        <a:buFont typeface="Homebase 12 Light" panose="020B0300000000000000" pitchFamily="34" charset="0"/>
        <a:buChar char="–"/>
        <a:defRPr sz="1400" kern="1200" baseline="0">
          <a:solidFill>
            <a:srgbClr val="606060"/>
          </a:solidFill>
          <a:latin typeface="+mn-lt"/>
          <a:ea typeface="+mn-ea"/>
          <a:cs typeface="Arial" pitchFamily="34" charset="0"/>
        </a:defRPr>
      </a:lvl2pPr>
      <a:lvl3pPr marL="538163" indent="-180975" algn="l" defTabSz="1072866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400" kern="1200" baseline="0">
          <a:solidFill>
            <a:srgbClr val="606060"/>
          </a:solidFill>
          <a:latin typeface="+mn-lt"/>
          <a:ea typeface="+mn-ea"/>
          <a:cs typeface="Arial" pitchFamily="34" charset="0"/>
        </a:defRPr>
      </a:lvl3pPr>
      <a:lvl4pPr marL="719138" indent="-180975" algn="l" defTabSz="1072866" rtl="0" eaLnBrk="1" latinLnBrk="0" hangingPunct="1">
        <a:lnSpc>
          <a:spcPct val="100000"/>
        </a:lnSpc>
        <a:spcBef>
          <a:spcPts val="0"/>
        </a:spcBef>
        <a:buFont typeface="Homebase 12 Light" panose="020B0300000000000000" pitchFamily="34" charset="0"/>
        <a:buChar char="–"/>
        <a:defRPr sz="1400" kern="1200" baseline="0">
          <a:solidFill>
            <a:srgbClr val="606060"/>
          </a:solidFill>
          <a:latin typeface="+mn-lt"/>
          <a:ea typeface="+mn-ea"/>
          <a:cs typeface="Arial" pitchFamily="34" charset="0"/>
        </a:defRPr>
      </a:lvl4pPr>
      <a:lvl5pPr marL="895350" indent="-176213" algn="l" defTabSz="1072866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400" kern="1200" baseline="0">
          <a:solidFill>
            <a:srgbClr val="606060"/>
          </a:solidFill>
          <a:latin typeface="+mn-lt"/>
          <a:ea typeface="+mn-ea"/>
          <a:cs typeface="Arial" pitchFamily="34" charset="0"/>
        </a:defRPr>
      </a:lvl5pPr>
      <a:lvl6pPr marL="1076325" indent="-180975" algn="l" defTabSz="1072866" rtl="0" eaLnBrk="1" latinLnBrk="0" hangingPunct="1">
        <a:lnSpc>
          <a:spcPct val="100000"/>
        </a:lnSpc>
        <a:spcBef>
          <a:spcPts val="0"/>
        </a:spcBef>
        <a:buFont typeface="Homebase 12 Light" panose="020B0300000000000000" pitchFamily="34" charset="0"/>
        <a:buChar char="–"/>
        <a:defRPr sz="1400" kern="1200" baseline="0">
          <a:solidFill>
            <a:srgbClr val="606060"/>
          </a:solidFill>
          <a:latin typeface="+mn-lt"/>
          <a:ea typeface="+mn-ea"/>
          <a:cs typeface="+mn-cs"/>
        </a:defRPr>
      </a:lvl6pPr>
      <a:lvl7pPr marL="1257300" indent="-180975" algn="l" defTabSz="1072866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400" kern="1200" baseline="0">
          <a:solidFill>
            <a:srgbClr val="606060"/>
          </a:solidFill>
          <a:latin typeface="+mn-lt"/>
          <a:ea typeface="+mn-ea"/>
          <a:cs typeface="+mn-cs"/>
        </a:defRPr>
      </a:lvl7pPr>
      <a:lvl8pPr marL="1433513" indent="-176213" algn="l" defTabSz="1072866" rtl="0" eaLnBrk="1" latinLnBrk="0" hangingPunct="1">
        <a:lnSpc>
          <a:spcPct val="100000"/>
        </a:lnSpc>
        <a:spcBef>
          <a:spcPts val="0"/>
        </a:spcBef>
        <a:buFont typeface="Homebase 12 Light" panose="020B0300000000000000" pitchFamily="34" charset="0"/>
        <a:buChar char="–"/>
        <a:defRPr sz="1400" kern="1200" baseline="0">
          <a:solidFill>
            <a:srgbClr val="606060"/>
          </a:solidFill>
          <a:latin typeface="+mn-lt"/>
          <a:ea typeface="+mn-ea"/>
          <a:cs typeface="+mn-cs"/>
        </a:defRPr>
      </a:lvl8pPr>
      <a:lvl9pPr marL="1614488" indent="-180975" algn="l" defTabSz="1072866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400" kern="1200" baseline="0">
          <a:solidFill>
            <a:srgbClr val="606060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36433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72866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09298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45731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82164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18597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755029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291462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18.xml"/><Relationship Id="rId18" Type="http://schemas.openxmlformats.org/officeDocument/2006/relationships/tags" Target="../tags/tag23.xml"/><Relationship Id="rId26" Type="http://schemas.openxmlformats.org/officeDocument/2006/relationships/tags" Target="../tags/tag31.xml"/><Relationship Id="rId39" Type="http://schemas.openxmlformats.org/officeDocument/2006/relationships/tags" Target="../tags/tag44.xml"/><Relationship Id="rId3" Type="http://schemas.openxmlformats.org/officeDocument/2006/relationships/tags" Target="../tags/tag8.xml"/><Relationship Id="rId21" Type="http://schemas.openxmlformats.org/officeDocument/2006/relationships/tags" Target="../tags/tag26.xml"/><Relationship Id="rId34" Type="http://schemas.openxmlformats.org/officeDocument/2006/relationships/tags" Target="../tags/tag39.xml"/><Relationship Id="rId42" Type="http://schemas.openxmlformats.org/officeDocument/2006/relationships/tags" Target="../tags/tag47.xml"/><Relationship Id="rId47" Type="http://schemas.openxmlformats.org/officeDocument/2006/relationships/tags" Target="../tags/tag52.xml"/><Relationship Id="rId50" Type="http://schemas.openxmlformats.org/officeDocument/2006/relationships/slideLayout" Target="../slideLayouts/slideLayout2.xml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tags" Target="../tags/tag22.xml"/><Relationship Id="rId25" Type="http://schemas.openxmlformats.org/officeDocument/2006/relationships/tags" Target="../tags/tag30.xml"/><Relationship Id="rId33" Type="http://schemas.openxmlformats.org/officeDocument/2006/relationships/tags" Target="../tags/tag38.xml"/><Relationship Id="rId38" Type="http://schemas.openxmlformats.org/officeDocument/2006/relationships/tags" Target="../tags/tag43.xml"/><Relationship Id="rId46" Type="http://schemas.openxmlformats.org/officeDocument/2006/relationships/tags" Target="../tags/tag51.xml"/><Relationship Id="rId2" Type="http://schemas.openxmlformats.org/officeDocument/2006/relationships/tags" Target="../tags/tag7.xml"/><Relationship Id="rId16" Type="http://schemas.openxmlformats.org/officeDocument/2006/relationships/tags" Target="../tags/tag21.xml"/><Relationship Id="rId20" Type="http://schemas.openxmlformats.org/officeDocument/2006/relationships/tags" Target="../tags/tag25.xml"/><Relationship Id="rId29" Type="http://schemas.openxmlformats.org/officeDocument/2006/relationships/tags" Target="../tags/tag34.xml"/><Relationship Id="rId41" Type="http://schemas.openxmlformats.org/officeDocument/2006/relationships/tags" Target="../tags/tag46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24" Type="http://schemas.openxmlformats.org/officeDocument/2006/relationships/tags" Target="../tags/tag29.xml"/><Relationship Id="rId32" Type="http://schemas.openxmlformats.org/officeDocument/2006/relationships/tags" Target="../tags/tag37.xml"/><Relationship Id="rId37" Type="http://schemas.openxmlformats.org/officeDocument/2006/relationships/tags" Target="../tags/tag42.xml"/><Relationship Id="rId40" Type="http://schemas.openxmlformats.org/officeDocument/2006/relationships/tags" Target="../tags/tag45.xml"/><Relationship Id="rId45" Type="http://schemas.openxmlformats.org/officeDocument/2006/relationships/tags" Target="../tags/tag50.xml"/><Relationship Id="rId5" Type="http://schemas.openxmlformats.org/officeDocument/2006/relationships/tags" Target="../tags/tag10.xml"/><Relationship Id="rId15" Type="http://schemas.openxmlformats.org/officeDocument/2006/relationships/tags" Target="../tags/tag20.xml"/><Relationship Id="rId23" Type="http://schemas.openxmlformats.org/officeDocument/2006/relationships/tags" Target="../tags/tag28.xml"/><Relationship Id="rId28" Type="http://schemas.openxmlformats.org/officeDocument/2006/relationships/tags" Target="../tags/tag33.xml"/><Relationship Id="rId36" Type="http://schemas.openxmlformats.org/officeDocument/2006/relationships/tags" Target="../tags/tag41.xml"/><Relationship Id="rId49" Type="http://schemas.openxmlformats.org/officeDocument/2006/relationships/tags" Target="../tags/tag54.xml"/><Relationship Id="rId10" Type="http://schemas.openxmlformats.org/officeDocument/2006/relationships/tags" Target="../tags/tag15.xml"/><Relationship Id="rId19" Type="http://schemas.openxmlformats.org/officeDocument/2006/relationships/tags" Target="../tags/tag24.xml"/><Relationship Id="rId31" Type="http://schemas.openxmlformats.org/officeDocument/2006/relationships/tags" Target="../tags/tag36.xml"/><Relationship Id="rId44" Type="http://schemas.openxmlformats.org/officeDocument/2006/relationships/tags" Target="../tags/tag49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tags" Target="../tags/tag19.xml"/><Relationship Id="rId22" Type="http://schemas.openxmlformats.org/officeDocument/2006/relationships/tags" Target="../tags/tag27.xml"/><Relationship Id="rId27" Type="http://schemas.openxmlformats.org/officeDocument/2006/relationships/tags" Target="../tags/tag32.xml"/><Relationship Id="rId30" Type="http://schemas.openxmlformats.org/officeDocument/2006/relationships/tags" Target="../tags/tag35.xml"/><Relationship Id="rId35" Type="http://schemas.openxmlformats.org/officeDocument/2006/relationships/tags" Target="../tags/tag40.xml"/><Relationship Id="rId43" Type="http://schemas.openxmlformats.org/officeDocument/2006/relationships/tags" Target="../tags/tag48.xml"/><Relationship Id="rId48" Type="http://schemas.openxmlformats.org/officeDocument/2006/relationships/tags" Target="../tags/tag53.xml"/><Relationship Id="rId8" Type="http://schemas.openxmlformats.org/officeDocument/2006/relationships/tags" Target="../tags/tag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2286000" y="3993160"/>
            <a:ext cx="5334000" cy="215444"/>
          </a:xfrm>
        </p:spPr>
        <p:txBody>
          <a:bodyPr/>
          <a:lstStyle/>
          <a:p>
            <a:r>
              <a:rPr lang="en-US" dirty="0" smtClean="0"/>
              <a:t>By www.presentationdepot.com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1386115" y="1464750"/>
            <a:ext cx="7133772" cy="1938992"/>
          </a:xfrm>
        </p:spPr>
        <p:txBody>
          <a:bodyPr/>
          <a:lstStyle/>
          <a:p>
            <a:r>
              <a:rPr lang="en-IN" dirty="0" smtClean="0"/>
              <a:t>Outline map of</a:t>
            </a:r>
            <a:br>
              <a:rPr lang="en-IN" dirty="0" smtClean="0"/>
            </a:br>
            <a:r>
              <a:rPr lang="en-IN" dirty="0" smtClean="0"/>
              <a:t>the United States of America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01376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371" y="292016"/>
            <a:ext cx="9019041" cy="400110"/>
          </a:xfrm>
        </p:spPr>
        <p:txBody>
          <a:bodyPr/>
          <a:lstStyle/>
          <a:p>
            <a:r>
              <a:rPr lang="en-IN" dirty="0" smtClean="0"/>
              <a:t>Fully editable map of the United States of America</a:t>
            </a:r>
            <a:endParaRPr lang="en-IN" dirty="0"/>
          </a:p>
        </p:txBody>
      </p:sp>
      <p:grpSp>
        <p:nvGrpSpPr>
          <p:cNvPr id="119" name="map_usmap_state_abbreviations"/>
          <p:cNvGrpSpPr/>
          <p:nvPr/>
        </p:nvGrpSpPr>
        <p:grpSpPr>
          <a:xfrm>
            <a:off x="912977" y="1428750"/>
            <a:ext cx="7890082" cy="4584701"/>
            <a:chOff x="494565" y="1609725"/>
            <a:chExt cx="7890082" cy="4584701"/>
          </a:xfrm>
          <a:solidFill>
            <a:schemeClr val="tx1">
              <a:lumMod val="20000"/>
              <a:lumOff val="80000"/>
            </a:schemeClr>
          </a:solidFill>
        </p:grpSpPr>
        <p:grpSp>
          <p:nvGrpSpPr>
            <p:cNvPr id="295" name="Group 294"/>
            <p:cNvGrpSpPr/>
            <p:nvPr/>
          </p:nvGrpSpPr>
          <p:grpSpPr>
            <a:xfrm>
              <a:off x="494565" y="4884738"/>
              <a:ext cx="3760886" cy="1309688"/>
              <a:chOff x="494565" y="4884738"/>
              <a:chExt cx="3760886" cy="1309688"/>
            </a:xfrm>
            <a:grpFill/>
            <a:effectLst/>
          </p:grpSpPr>
          <p:sp>
            <p:nvSpPr>
              <p:cNvPr id="348" name="Freeform 142"/>
              <p:cNvSpPr>
                <a:spLocks/>
              </p:cNvSpPr>
              <p:nvPr/>
            </p:nvSpPr>
            <p:spPr bwMode="gray">
              <a:xfrm>
                <a:off x="1006545" y="6010276"/>
                <a:ext cx="95454" cy="36513"/>
              </a:xfrm>
              <a:custGeom>
                <a:avLst/>
                <a:gdLst>
                  <a:gd name="T0" fmla="*/ 25 w 208"/>
                  <a:gd name="T1" fmla="*/ 0 h 103"/>
                  <a:gd name="T2" fmla="*/ 55 w 208"/>
                  <a:gd name="T3" fmla="*/ 23 h 103"/>
                  <a:gd name="T4" fmla="*/ 0 w 208"/>
                  <a:gd name="T5" fmla="*/ 23 h 103"/>
                  <a:gd name="T6" fmla="*/ 25 w 208"/>
                  <a:gd name="T7" fmla="*/ 0 h 103"/>
                  <a:gd name="T8" fmla="*/ 25 w 208"/>
                  <a:gd name="T9" fmla="*/ 0 h 10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08"/>
                  <a:gd name="T16" fmla="*/ 0 h 103"/>
                  <a:gd name="T17" fmla="*/ 208 w 208"/>
                  <a:gd name="T18" fmla="*/ 103 h 10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08" h="103">
                    <a:moveTo>
                      <a:pt x="94" y="0"/>
                    </a:moveTo>
                    <a:lnTo>
                      <a:pt x="208" y="103"/>
                    </a:lnTo>
                    <a:lnTo>
                      <a:pt x="0" y="103"/>
                    </a:lnTo>
                    <a:lnTo>
                      <a:pt x="9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9" name="Freeform 143"/>
              <p:cNvSpPr>
                <a:spLocks/>
              </p:cNvSpPr>
              <p:nvPr/>
            </p:nvSpPr>
            <p:spPr bwMode="gray">
              <a:xfrm>
                <a:off x="859026" y="6035676"/>
                <a:ext cx="105867" cy="76200"/>
              </a:xfrm>
              <a:custGeom>
                <a:avLst/>
                <a:gdLst>
                  <a:gd name="T0" fmla="*/ 61 w 232"/>
                  <a:gd name="T1" fmla="*/ 7 h 211"/>
                  <a:gd name="T2" fmla="*/ 0 w 232"/>
                  <a:gd name="T3" fmla="*/ 48 h 211"/>
                  <a:gd name="T4" fmla="*/ 28 w 232"/>
                  <a:gd name="T5" fmla="*/ 0 h 211"/>
                  <a:gd name="T6" fmla="*/ 61 w 232"/>
                  <a:gd name="T7" fmla="*/ 7 h 211"/>
                  <a:gd name="T8" fmla="*/ 61 w 232"/>
                  <a:gd name="T9" fmla="*/ 7 h 21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32"/>
                  <a:gd name="T16" fmla="*/ 0 h 211"/>
                  <a:gd name="T17" fmla="*/ 232 w 232"/>
                  <a:gd name="T18" fmla="*/ 211 h 21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32" h="211">
                    <a:moveTo>
                      <a:pt x="232" y="30"/>
                    </a:moveTo>
                    <a:lnTo>
                      <a:pt x="0" y="211"/>
                    </a:lnTo>
                    <a:lnTo>
                      <a:pt x="107" y="0"/>
                    </a:lnTo>
                    <a:lnTo>
                      <a:pt x="232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50" name="Freeform 144"/>
              <p:cNvSpPr>
                <a:spLocks/>
              </p:cNvSpPr>
              <p:nvPr/>
            </p:nvSpPr>
            <p:spPr bwMode="gray">
              <a:xfrm>
                <a:off x="772249" y="6073776"/>
                <a:ext cx="72892" cy="38100"/>
              </a:xfrm>
              <a:custGeom>
                <a:avLst/>
                <a:gdLst>
                  <a:gd name="T0" fmla="*/ 42 w 161"/>
                  <a:gd name="T1" fmla="*/ 4 h 107"/>
                  <a:gd name="T2" fmla="*/ 12 w 161"/>
                  <a:gd name="T3" fmla="*/ 20 h 107"/>
                  <a:gd name="T4" fmla="*/ 0 w 161"/>
                  <a:gd name="T5" fmla="*/ 24 h 107"/>
                  <a:gd name="T6" fmla="*/ 23 w 161"/>
                  <a:gd name="T7" fmla="*/ 0 h 107"/>
                  <a:gd name="T8" fmla="*/ 42 w 161"/>
                  <a:gd name="T9" fmla="*/ 4 h 107"/>
                  <a:gd name="T10" fmla="*/ 42 w 161"/>
                  <a:gd name="T11" fmla="*/ 4 h 10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61"/>
                  <a:gd name="T19" fmla="*/ 0 h 107"/>
                  <a:gd name="T20" fmla="*/ 161 w 161"/>
                  <a:gd name="T21" fmla="*/ 107 h 10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61" h="107">
                    <a:moveTo>
                      <a:pt x="161" y="18"/>
                    </a:moveTo>
                    <a:lnTo>
                      <a:pt x="46" y="89"/>
                    </a:lnTo>
                    <a:lnTo>
                      <a:pt x="0" y="107"/>
                    </a:lnTo>
                    <a:lnTo>
                      <a:pt x="88" y="0"/>
                    </a:lnTo>
                    <a:lnTo>
                      <a:pt x="161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51" name="Freeform 145"/>
              <p:cNvSpPr>
                <a:spLocks/>
              </p:cNvSpPr>
              <p:nvPr/>
            </p:nvSpPr>
            <p:spPr bwMode="gray">
              <a:xfrm>
                <a:off x="692415" y="6080126"/>
                <a:ext cx="43388" cy="31750"/>
              </a:xfrm>
              <a:custGeom>
                <a:avLst/>
                <a:gdLst>
                  <a:gd name="T0" fmla="*/ 0 w 94"/>
                  <a:gd name="T1" fmla="*/ 0 h 89"/>
                  <a:gd name="T2" fmla="*/ 7 w 94"/>
                  <a:gd name="T3" fmla="*/ 20 h 89"/>
                  <a:gd name="T4" fmla="*/ 25 w 94"/>
                  <a:gd name="T5" fmla="*/ 4 h 89"/>
                  <a:gd name="T6" fmla="*/ 0 w 94"/>
                  <a:gd name="T7" fmla="*/ 0 h 89"/>
                  <a:gd name="T8" fmla="*/ 0 w 94"/>
                  <a:gd name="T9" fmla="*/ 0 h 8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4"/>
                  <a:gd name="T16" fmla="*/ 0 h 89"/>
                  <a:gd name="T17" fmla="*/ 94 w 94"/>
                  <a:gd name="T18" fmla="*/ 89 h 8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4" h="89">
                    <a:moveTo>
                      <a:pt x="0" y="0"/>
                    </a:moveTo>
                    <a:lnTo>
                      <a:pt x="25" y="89"/>
                    </a:lnTo>
                    <a:lnTo>
                      <a:pt x="94" y="1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52" name="Freeform 146"/>
              <p:cNvSpPr>
                <a:spLocks/>
              </p:cNvSpPr>
              <p:nvPr/>
            </p:nvSpPr>
            <p:spPr bwMode="gray">
              <a:xfrm>
                <a:off x="614316" y="6073776"/>
                <a:ext cx="48595" cy="25400"/>
              </a:xfrm>
              <a:custGeom>
                <a:avLst/>
                <a:gdLst>
                  <a:gd name="T0" fmla="*/ 0 w 105"/>
                  <a:gd name="T1" fmla="*/ 0 h 71"/>
                  <a:gd name="T2" fmla="*/ 6 w 105"/>
                  <a:gd name="T3" fmla="*/ 12 h 71"/>
                  <a:gd name="T4" fmla="*/ 28 w 105"/>
                  <a:gd name="T5" fmla="*/ 16 h 71"/>
                  <a:gd name="T6" fmla="*/ 21 w 105"/>
                  <a:gd name="T7" fmla="*/ 4 h 71"/>
                  <a:gd name="T8" fmla="*/ 0 w 105"/>
                  <a:gd name="T9" fmla="*/ 0 h 71"/>
                  <a:gd name="T10" fmla="*/ 0 w 105"/>
                  <a:gd name="T11" fmla="*/ 0 h 7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05"/>
                  <a:gd name="T19" fmla="*/ 0 h 71"/>
                  <a:gd name="T20" fmla="*/ 105 w 105"/>
                  <a:gd name="T21" fmla="*/ 71 h 7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05" h="71">
                    <a:moveTo>
                      <a:pt x="0" y="0"/>
                    </a:moveTo>
                    <a:lnTo>
                      <a:pt x="24" y="53"/>
                    </a:lnTo>
                    <a:lnTo>
                      <a:pt x="105" y="71"/>
                    </a:lnTo>
                    <a:lnTo>
                      <a:pt x="79" y="1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53" name="Freeform 147"/>
              <p:cNvSpPr>
                <a:spLocks/>
              </p:cNvSpPr>
              <p:nvPr/>
            </p:nvSpPr>
            <p:spPr bwMode="gray">
              <a:xfrm>
                <a:off x="494565" y="6016626"/>
                <a:ext cx="81570" cy="44450"/>
              </a:xfrm>
              <a:custGeom>
                <a:avLst/>
                <a:gdLst>
                  <a:gd name="T0" fmla="*/ 47 w 182"/>
                  <a:gd name="T1" fmla="*/ 0 h 119"/>
                  <a:gd name="T2" fmla="*/ 42 w 182"/>
                  <a:gd name="T3" fmla="*/ 28 h 119"/>
                  <a:gd name="T4" fmla="*/ 0 w 182"/>
                  <a:gd name="T5" fmla="*/ 0 h 119"/>
                  <a:gd name="T6" fmla="*/ 47 w 182"/>
                  <a:gd name="T7" fmla="*/ 0 h 119"/>
                  <a:gd name="T8" fmla="*/ 47 w 182"/>
                  <a:gd name="T9" fmla="*/ 0 h 11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82"/>
                  <a:gd name="T16" fmla="*/ 0 h 119"/>
                  <a:gd name="T17" fmla="*/ 182 w 182"/>
                  <a:gd name="T18" fmla="*/ 119 h 11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2" h="119">
                    <a:moveTo>
                      <a:pt x="182" y="0"/>
                    </a:moveTo>
                    <a:lnTo>
                      <a:pt x="161" y="119"/>
                    </a:lnTo>
                    <a:lnTo>
                      <a:pt x="0" y="0"/>
                    </a:lnTo>
                    <a:lnTo>
                      <a:pt x="18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54" name="Freeform 148"/>
              <p:cNvSpPr>
                <a:spLocks/>
              </p:cNvSpPr>
              <p:nvPr/>
            </p:nvSpPr>
            <p:spPr bwMode="gray">
              <a:xfrm>
                <a:off x="1128032" y="4884738"/>
                <a:ext cx="1518586" cy="1309688"/>
              </a:xfrm>
              <a:custGeom>
                <a:avLst/>
                <a:gdLst>
                  <a:gd name="T0" fmla="*/ 568 w 3345"/>
                  <a:gd name="T1" fmla="*/ 536 h 3625"/>
                  <a:gd name="T2" fmla="*/ 676 w 3345"/>
                  <a:gd name="T3" fmla="*/ 612 h 3625"/>
                  <a:gd name="T4" fmla="*/ 676 w 3345"/>
                  <a:gd name="T5" fmla="*/ 584 h 3625"/>
                  <a:gd name="T6" fmla="*/ 757 w 3345"/>
                  <a:gd name="T7" fmla="*/ 601 h 3625"/>
                  <a:gd name="T8" fmla="*/ 818 w 3345"/>
                  <a:gd name="T9" fmla="*/ 684 h 3625"/>
                  <a:gd name="T10" fmla="*/ 808 w 3345"/>
                  <a:gd name="T11" fmla="*/ 721 h 3625"/>
                  <a:gd name="T12" fmla="*/ 854 w 3345"/>
                  <a:gd name="T13" fmla="*/ 749 h 3625"/>
                  <a:gd name="T14" fmla="*/ 854 w 3345"/>
                  <a:gd name="T15" fmla="*/ 822 h 3625"/>
                  <a:gd name="T16" fmla="*/ 799 w 3345"/>
                  <a:gd name="T17" fmla="*/ 825 h 3625"/>
                  <a:gd name="T18" fmla="*/ 709 w 3345"/>
                  <a:gd name="T19" fmla="*/ 716 h 3625"/>
                  <a:gd name="T20" fmla="*/ 685 w 3345"/>
                  <a:gd name="T21" fmla="*/ 680 h 3625"/>
                  <a:gd name="T22" fmla="*/ 682 w 3345"/>
                  <a:gd name="T23" fmla="*/ 636 h 3625"/>
                  <a:gd name="T24" fmla="*/ 643 w 3345"/>
                  <a:gd name="T25" fmla="*/ 616 h 3625"/>
                  <a:gd name="T26" fmla="*/ 568 w 3345"/>
                  <a:gd name="T27" fmla="*/ 564 h 3625"/>
                  <a:gd name="T28" fmla="*/ 465 w 3345"/>
                  <a:gd name="T29" fmla="*/ 515 h 3625"/>
                  <a:gd name="T30" fmla="*/ 405 w 3345"/>
                  <a:gd name="T31" fmla="*/ 523 h 3625"/>
                  <a:gd name="T32" fmla="*/ 381 w 3345"/>
                  <a:gd name="T33" fmla="*/ 584 h 3625"/>
                  <a:gd name="T34" fmla="*/ 366 w 3345"/>
                  <a:gd name="T35" fmla="*/ 584 h 3625"/>
                  <a:gd name="T36" fmla="*/ 340 w 3345"/>
                  <a:gd name="T37" fmla="*/ 556 h 3625"/>
                  <a:gd name="T38" fmla="*/ 318 w 3345"/>
                  <a:gd name="T39" fmla="*/ 540 h 3625"/>
                  <a:gd name="T40" fmla="*/ 391 w 3345"/>
                  <a:gd name="T41" fmla="*/ 543 h 3625"/>
                  <a:gd name="T42" fmla="*/ 393 w 3345"/>
                  <a:gd name="T43" fmla="*/ 480 h 3625"/>
                  <a:gd name="T44" fmla="*/ 336 w 3345"/>
                  <a:gd name="T45" fmla="*/ 463 h 3625"/>
                  <a:gd name="T46" fmla="*/ 249 w 3345"/>
                  <a:gd name="T47" fmla="*/ 572 h 3625"/>
                  <a:gd name="T48" fmla="*/ 309 w 3345"/>
                  <a:gd name="T49" fmla="*/ 620 h 3625"/>
                  <a:gd name="T50" fmla="*/ 207 w 3345"/>
                  <a:gd name="T51" fmla="*/ 636 h 3625"/>
                  <a:gd name="T52" fmla="*/ 216 w 3345"/>
                  <a:gd name="T53" fmla="*/ 688 h 3625"/>
                  <a:gd name="T54" fmla="*/ 84 w 3345"/>
                  <a:gd name="T55" fmla="*/ 705 h 3625"/>
                  <a:gd name="T56" fmla="*/ 0 w 3345"/>
                  <a:gd name="T57" fmla="*/ 725 h 3625"/>
                  <a:gd name="T58" fmla="*/ 123 w 3345"/>
                  <a:gd name="T59" fmla="*/ 673 h 3625"/>
                  <a:gd name="T60" fmla="*/ 160 w 3345"/>
                  <a:gd name="T61" fmla="*/ 644 h 3625"/>
                  <a:gd name="T62" fmla="*/ 231 w 3345"/>
                  <a:gd name="T63" fmla="*/ 579 h 3625"/>
                  <a:gd name="T64" fmla="*/ 156 w 3345"/>
                  <a:gd name="T65" fmla="*/ 601 h 3625"/>
                  <a:gd name="T66" fmla="*/ 120 w 3345"/>
                  <a:gd name="T67" fmla="*/ 596 h 3625"/>
                  <a:gd name="T68" fmla="*/ 75 w 3345"/>
                  <a:gd name="T69" fmla="*/ 560 h 3625"/>
                  <a:gd name="T70" fmla="*/ 36 w 3345"/>
                  <a:gd name="T71" fmla="*/ 523 h 3625"/>
                  <a:gd name="T72" fmla="*/ 41 w 3345"/>
                  <a:gd name="T73" fmla="*/ 430 h 3625"/>
                  <a:gd name="T74" fmla="*/ 72 w 3345"/>
                  <a:gd name="T75" fmla="*/ 330 h 3625"/>
                  <a:gd name="T76" fmla="*/ 165 w 3345"/>
                  <a:gd name="T77" fmla="*/ 330 h 3625"/>
                  <a:gd name="T78" fmla="*/ 185 w 3345"/>
                  <a:gd name="T79" fmla="*/ 277 h 3625"/>
                  <a:gd name="T80" fmla="*/ 120 w 3345"/>
                  <a:gd name="T81" fmla="*/ 298 h 3625"/>
                  <a:gd name="T82" fmla="*/ 69 w 3345"/>
                  <a:gd name="T83" fmla="*/ 249 h 3625"/>
                  <a:gd name="T84" fmla="*/ 78 w 3345"/>
                  <a:gd name="T85" fmla="*/ 205 h 3625"/>
                  <a:gd name="T86" fmla="*/ 98 w 3345"/>
                  <a:gd name="T87" fmla="*/ 196 h 3625"/>
                  <a:gd name="T88" fmla="*/ 146 w 3345"/>
                  <a:gd name="T89" fmla="*/ 225 h 3625"/>
                  <a:gd name="T90" fmla="*/ 202 w 3345"/>
                  <a:gd name="T91" fmla="*/ 165 h 3625"/>
                  <a:gd name="T92" fmla="*/ 102 w 3345"/>
                  <a:gd name="T93" fmla="*/ 145 h 3625"/>
                  <a:gd name="T94" fmla="*/ 105 w 3345"/>
                  <a:gd name="T95" fmla="*/ 80 h 3625"/>
                  <a:gd name="T96" fmla="*/ 216 w 3345"/>
                  <a:gd name="T97" fmla="*/ 28 h 3625"/>
                  <a:gd name="T98" fmla="*/ 324 w 3345"/>
                  <a:gd name="T99" fmla="*/ 0 h 3625"/>
                  <a:gd name="T100" fmla="*/ 354 w 3345"/>
                  <a:gd name="T101" fmla="*/ 0 h 3625"/>
                  <a:gd name="T102" fmla="*/ 391 w 3345"/>
                  <a:gd name="T103" fmla="*/ 52 h 3625"/>
                  <a:gd name="T104" fmla="*/ 474 w 3345"/>
                  <a:gd name="T105" fmla="*/ 76 h 3625"/>
                  <a:gd name="T106" fmla="*/ 556 w 3345"/>
                  <a:gd name="T107" fmla="*/ 109 h 3625"/>
                  <a:gd name="T108" fmla="*/ 568 w 3345"/>
                  <a:gd name="T109" fmla="*/ 109 h 3625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3345"/>
                  <a:gd name="T166" fmla="*/ 0 h 3625"/>
                  <a:gd name="T167" fmla="*/ 3345 w 3345"/>
                  <a:gd name="T168" fmla="*/ 3625 h 3625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3345" h="3625">
                    <a:moveTo>
                      <a:pt x="2171" y="477"/>
                    </a:moveTo>
                    <a:lnTo>
                      <a:pt x="2171" y="2354"/>
                    </a:lnTo>
                    <a:lnTo>
                      <a:pt x="2273" y="2354"/>
                    </a:lnTo>
                    <a:lnTo>
                      <a:pt x="2584" y="2687"/>
                    </a:lnTo>
                    <a:lnTo>
                      <a:pt x="2677" y="2687"/>
                    </a:lnTo>
                    <a:lnTo>
                      <a:pt x="2584" y="2565"/>
                    </a:lnTo>
                    <a:lnTo>
                      <a:pt x="2655" y="2478"/>
                    </a:lnTo>
                    <a:lnTo>
                      <a:pt x="2895" y="2639"/>
                    </a:lnTo>
                    <a:lnTo>
                      <a:pt x="2803" y="2795"/>
                    </a:lnTo>
                    <a:lnTo>
                      <a:pt x="3126" y="3004"/>
                    </a:lnTo>
                    <a:lnTo>
                      <a:pt x="3043" y="3098"/>
                    </a:lnTo>
                    <a:lnTo>
                      <a:pt x="3090" y="3167"/>
                    </a:lnTo>
                    <a:lnTo>
                      <a:pt x="3263" y="3167"/>
                    </a:lnTo>
                    <a:lnTo>
                      <a:pt x="3263" y="3291"/>
                    </a:lnTo>
                    <a:lnTo>
                      <a:pt x="3345" y="3398"/>
                    </a:lnTo>
                    <a:lnTo>
                      <a:pt x="3263" y="3610"/>
                    </a:lnTo>
                    <a:lnTo>
                      <a:pt x="3055" y="3362"/>
                    </a:lnTo>
                    <a:lnTo>
                      <a:pt x="3055" y="3625"/>
                    </a:lnTo>
                    <a:lnTo>
                      <a:pt x="2882" y="3148"/>
                    </a:lnTo>
                    <a:lnTo>
                      <a:pt x="2710" y="3148"/>
                    </a:lnTo>
                    <a:lnTo>
                      <a:pt x="2710" y="2990"/>
                    </a:lnTo>
                    <a:lnTo>
                      <a:pt x="2618" y="2990"/>
                    </a:lnTo>
                    <a:lnTo>
                      <a:pt x="2666" y="2884"/>
                    </a:lnTo>
                    <a:lnTo>
                      <a:pt x="2608" y="2795"/>
                    </a:lnTo>
                    <a:lnTo>
                      <a:pt x="2458" y="2884"/>
                    </a:lnTo>
                    <a:lnTo>
                      <a:pt x="2458" y="2705"/>
                    </a:lnTo>
                    <a:lnTo>
                      <a:pt x="2387" y="2705"/>
                    </a:lnTo>
                    <a:lnTo>
                      <a:pt x="2171" y="2478"/>
                    </a:lnTo>
                    <a:lnTo>
                      <a:pt x="1812" y="2478"/>
                    </a:lnTo>
                    <a:lnTo>
                      <a:pt x="1778" y="2262"/>
                    </a:lnTo>
                    <a:lnTo>
                      <a:pt x="1638" y="2192"/>
                    </a:lnTo>
                    <a:lnTo>
                      <a:pt x="1549" y="2300"/>
                    </a:lnTo>
                    <a:lnTo>
                      <a:pt x="1609" y="2387"/>
                    </a:lnTo>
                    <a:lnTo>
                      <a:pt x="1457" y="2565"/>
                    </a:lnTo>
                    <a:lnTo>
                      <a:pt x="1399" y="2426"/>
                    </a:lnTo>
                    <a:lnTo>
                      <a:pt x="1399" y="2565"/>
                    </a:lnTo>
                    <a:lnTo>
                      <a:pt x="1159" y="2618"/>
                    </a:lnTo>
                    <a:lnTo>
                      <a:pt x="1298" y="2442"/>
                    </a:lnTo>
                    <a:lnTo>
                      <a:pt x="1217" y="2460"/>
                    </a:lnTo>
                    <a:lnTo>
                      <a:pt x="1217" y="2371"/>
                    </a:lnTo>
                    <a:lnTo>
                      <a:pt x="1354" y="2283"/>
                    </a:lnTo>
                    <a:lnTo>
                      <a:pt x="1493" y="2387"/>
                    </a:lnTo>
                    <a:lnTo>
                      <a:pt x="1412" y="2226"/>
                    </a:lnTo>
                    <a:lnTo>
                      <a:pt x="1502" y="2107"/>
                    </a:lnTo>
                    <a:lnTo>
                      <a:pt x="1286" y="2226"/>
                    </a:lnTo>
                    <a:lnTo>
                      <a:pt x="1286" y="2033"/>
                    </a:lnTo>
                    <a:lnTo>
                      <a:pt x="1125" y="2426"/>
                    </a:lnTo>
                    <a:lnTo>
                      <a:pt x="953" y="2513"/>
                    </a:lnTo>
                    <a:lnTo>
                      <a:pt x="953" y="2579"/>
                    </a:lnTo>
                    <a:lnTo>
                      <a:pt x="1182" y="2724"/>
                    </a:lnTo>
                    <a:lnTo>
                      <a:pt x="882" y="2900"/>
                    </a:lnTo>
                    <a:lnTo>
                      <a:pt x="790" y="2795"/>
                    </a:lnTo>
                    <a:lnTo>
                      <a:pt x="632" y="2900"/>
                    </a:lnTo>
                    <a:lnTo>
                      <a:pt x="827" y="3024"/>
                    </a:lnTo>
                    <a:lnTo>
                      <a:pt x="345" y="3148"/>
                    </a:lnTo>
                    <a:lnTo>
                      <a:pt x="323" y="3098"/>
                    </a:lnTo>
                    <a:lnTo>
                      <a:pt x="113" y="3206"/>
                    </a:lnTo>
                    <a:lnTo>
                      <a:pt x="0" y="3187"/>
                    </a:lnTo>
                    <a:lnTo>
                      <a:pt x="79" y="3114"/>
                    </a:lnTo>
                    <a:lnTo>
                      <a:pt x="471" y="2956"/>
                    </a:lnTo>
                    <a:lnTo>
                      <a:pt x="471" y="2900"/>
                    </a:lnTo>
                    <a:lnTo>
                      <a:pt x="610" y="2830"/>
                    </a:lnTo>
                    <a:lnTo>
                      <a:pt x="642" y="2687"/>
                    </a:lnTo>
                    <a:lnTo>
                      <a:pt x="882" y="2545"/>
                    </a:lnTo>
                    <a:lnTo>
                      <a:pt x="664" y="2545"/>
                    </a:lnTo>
                    <a:lnTo>
                      <a:pt x="597" y="2639"/>
                    </a:lnTo>
                    <a:lnTo>
                      <a:pt x="537" y="2579"/>
                    </a:lnTo>
                    <a:lnTo>
                      <a:pt x="460" y="2618"/>
                    </a:lnTo>
                    <a:lnTo>
                      <a:pt x="413" y="2460"/>
                    </a:lnTo>
                    <a:lnTo>
                      <a:pt x="286" y="2460"/>
                    </a:lnTo>
                    <a:lnTo>
                      <a:pt x="345" y="2247"/>
                    </a:lnTo>
                    <a:lnTo>
                      <a:pt x="137" y="2300"/>
                    </a:lnTo>
                    <a:lnTo>
                      <a:pt x="21" y="2017"/>
                    </a:lnTo>
                    <a:lnTo>
                      <a:pt x="158" y="1890"/>
                    </a:lnTo>
                    <a:lnTo>
                      <a:pt x="79" y="1679"/>
                    </a:lnTo>
                    <a:lnTo>
                      <a:pt x="274" y="1448"/>
                    </a:lnTo>
                    <a:lnTo>
                      <a:pt x="376" y="1554"/>
                    </a:lnTo>
                    <a:lnTo>
                      <a:pt x="632" y="1448"/>
                    </a:lnTo>
                    <a:lnTo>
                      <a:pt x="574" y="1308"/>
                    </a:lnTo>
                    <a:lnTo>
                      <a:pt x="709" y="1219"/>
                    </a:lnTo>
                    <a:lnTo>
                      <a:pt x="632" y="1132"/>
                    </a:lnTo>
                    <a:lnTo>
                      <a:pt x="460" y="1308"/>
                    </a:lnTo>
                    <a:lnTo>
                      <a:pt x="286" y="1219"/>
                    </a:lnTo>
                    <a:lnTo>
                      <a:pt x="265" y="1094"/>
                    </a:lnTo>
                    <a:lnTo>
                      <a:pt x="55" y="1079"/>
                    </a:lnTo>
                    <a:lnTo>
                      <a:pt x="298" y="902"/>
                    </a:lnTo>
                    <a:lnTo>
                      <a:pt x="376" y="954"/>
                    </a:lnTo>
                    <a:lnTo>
                      <a:pt x="376" y="863"/>
                    </a:lnTo>
                    <a:lnTo>
                      <a:pt x="537" y="815"/>
                    </a:lnTo>
                    <a:lnTo>
                      <a:pt x="560" y="989"/>
                    </a:lnTo>
                    <a:lnTo>
                      <a:pt x="674" y="989"/>
                    </a:lnTo>
                    <a:lnTo>
                      <a:pt x="771" y="723"/>
                    </a:lnTo>
                    <a:lnTo>
                      <a:pt x="574" y="744"/>
                    </a:lnTo>
                    <a:lnTo>
                      <a:pt x="390" y="636"/>
                    </a:lnTo>
                    <a:lnTo>
                      <a:pt x="448" y="510"/>
                    </a:lnTo>
                    <a:lnTo>
                      <a:pt x="400" y="351"/>
                    </a:lnTo>
                    <a:lnTo>
                      <a:pt x="827" y="248"/>
                    </a:lnTo>
                    <a:lnTo>
                      <a:pt x="827" y="122"/>
                    </a:lnTo>
                    <a:lnTo>
                      <a:pt x="1067" y="0"/>
                    </a:lnTo>
                    <a:lnTo>
                      <a:pt x="1238" y="0"/>
                    </a:lnTo>
                    <a:lnTo>
                      <a:pt x="1354" y="122"/>
                    </a:lnTo>
                    <a:lnTo>
                      <a:pt x="1354" y="0"/>
                    </a:lnTo>
                    <a:lnTo>
                      <a:pt x="1399" y="0"/>
                    </a:lnTo>
                    <a:lnTo>
                      <a:pt x="1493" y="227"/>
                    </a:lnTo>
                    <a:lnTo>
                      <a:pt x="1638" y="227"/>
                    </a:lnTo>
                    <a:lnTo>
                      <a:pt x="1812" y="335"/>
                    </a:lnTo>
                    <a:lnTo>
                      <a:pt x="1997" y="335"/>
                    </a:lnTo>
                    <a:lnTo>
                      <a:pt x="2125" y="477"/>
                    </a:lnTo>
                    <a:lnTo>
                      <a:pt x="2171" y="477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55" name="Freeform 157"/>
              <p:cNvSpPr>
                <a:spLocks/>
              </p:cNvSpPr>
              <p:nvPr/>
            </p:nvSpPr>
            <p:spPr bwMode="gray">
              <a:xfrm>
                <a:off x="3910081" y="5972176"/>
                <a:ext cx="345370" cy="206375"/>
              </a:xfrm>
              <a:custGeom>
                <a:avLst/>
                <a:gdLst>
                  <a:gd name="T0" fmla="*/ 64 w 1179"/>
                  <a:gd name="T1" fmla="*/ 127 h 1258"/>
                  <a:gd name="T2" fmla="*/ 79 w 1179"/>
                  <a:gd name="T3" fmla="*/ 123 h 1258"/>
                  <a:gd name="T4" fmla="*/ 77 w 1179"/>
                  <a:gd name="T5" fmla="*/ 119 h 1258"/>
                  <a:gd name="T6" fmla="*/ 100 w 1179"/>
                  <a:gd name="T7" fmla="*/ 110 h 1258"/>
                  <a:gd name="T8" fmla="*/ 120 w 1179"/>
                  <a:gd name="T9" fmla="*/ 95 h 1258"/>
                  <a:gd name="T10" fmla="*/ 133 w 1179"/>
                  <a:gd name="T11" fmla="*/ 102 h 1258"/>
                  <a:gd name="T12" fmla="*/ 158 w 1179"/>
                  <a:gd name="T13" fmla="*/ 94 h 1258"/>
                  <a:gd name="T14" fmla="*/ 171 w 1179"/>
                  <a:gd name="T15" fmla="*/ 89 h 1258"/>
                  <a:gd name="T16" fmla="*/ 177 w 1179"/>
                  <a:gd name="T17" fmla="*/ 81 h 1258"/>
                  <a:gd name="T18" fmla="*/ 197 w 1179"/>
                  <a:gd name="T19" fmla="*/ 74 h 1258"/>
                  <a:gd name="T20" fmla="*/ 199 w 1179"/>
                  <a:gd name="T21" fmla="*/ 67 h 1258"/>
                  <a:gd name="T22" fmla="*/ 180 w 1179"/>
                  <a:gd name="T23" fmla="*/ 64 h 1258"/>
                  <a:gd name="T24" fmla="*/ 171 w 1179"/>
                  <a:gd name="T25" fmla="*/ 46 h 1258"/>
                  <a:gd name="T26" fmla="*/ 152 w 1179"/>
                  <a:gd name="T27" fmla="*/ 49 h 1258"/>
                  <a:gd name="T28" fmla="*/ 152 w 1179"/>
                  <a:gd name="T29" fmla="*/ 38 h 1258"/>
                  <a:gd name="T30" fmla="*/ 143 w 1179"/>
                  <a:gd name="T31" fmla="*/ 31 h 1258"/>
                  <a:gd name="T32" fmla="*/ 113 w 1179"/>
                  <a:gd name="T33" fmla="*/ 20 h 1258"/>
                  <a:gd name="T34" fmla="*/ 91 w 1179"/>
                  <a:gd name="T35" fmla="*/ 18 h 1258"/>
                  <a:gd name="T36" fmla="*/ 81 w 1179"/>
                  <a:gd name="T37" fmla="*/ 12 h 1258"/>
                  <a:gd name="T38" fmla="*/ 34 w 1179"/>
                  <a:gd name="T39" fmla="*/ 0 h 1258"/>
                  <a:gd name="T40" fmla="*/ 28 w 1179"/>
                  <a:gd name="T41" fmla="*/ 3 h 1258"/>
                  <a:gd name="T42" fmla="*/ 28 w 1179"/>
                  <a:gd name="T43" fmla="*/ 13 h 1258"/>
                  <a:gd name="T44" fmla="*/ 36 w 1179"/>
                  <a:gd name="T45" fmla="*/ 16 h 1258"/>
                  <a:gd name="T46" fmla="*/ 36 w 1179"/>
                  <a:gd name="T47" fmla="*/ 26 h 1258"/>
                  <a:gd name="T48" fmla="*/ 30 w 1179"/>
                  <a:gd name="T49" fmla="*/ 33 h 1258"/>
                  <a:gd name="T50" fmla="*/ 23 w 1179"/>
                  <a:gd name="T51" fmla="*/ 38 h 1258"/>
                  <a:gd name="T52" fmla="*/ 11 w 1179"/>
                  <a:gd name="T53" fmla="*/ 40 h 1258"/>
                  <a:gd name="T54" fmla="*/ 0 w 1179"/>
                  <a:gd name="T55" fmla="*/ 52 h 1258"/>
                  <a:gd name="T56" fmla="*/ 25 w 1179"/>
                  <a:gd name="T57" fmla="*/ 86 h 1258"/>
                  <a:gd name="T58" fmla="*/ 25 w 1179"/>
                  <a:gd name="T59" fmla="*/ 107 h 1258"/>
                  <a:gd name="T60" fmla="*/ 21 w 1179"/>
                  <a:gd name="T61" fmla="*/ 113 h 1258"/>
                  <a:gd name="T62" fmla="*/ 25 w 1179"/>
                  <a:gd name="T63" fmla="*/ 122 h 1258"/>
                  <a:gd name="T64" fmla="*/ 55 w 1179"/>
                  <a:gd name="T65" fmla="*/ 130 h 1258"/>
                  <a:gd name="T66" fmla="*/ 64 w 1179"/>
                  <a:gd name="T67" fmla="*/ 127 h 1258"/>
                  <a:gd name="T68" fmla="*/ 64 w 1179"/>
                  <a:gd name="T69" fmla="*/ 127 h 125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1179"/>
                  <a:gd name="T106" fmla="*/ 0 h 1258"/>
                  <a:gd name="T107" fmla="*/ 1179 w 1179"/>
                  <a:gd name="T108" fmla="*/ 1258 h 1258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1179" h="1258">
                    <a:moveTo>
                      <a:pt x="378" y="1225"/>
                    </a:moveTo>
                    <a:lnTo>
                      <a:pt x="468" y="1195"/>
                    </a:lnTo>
                    <a:lnTo>
                      <a:pt x="457" y="1148"/>
                    </a:lnTo>
                    <a:lnTo>
                      <a:pt x="595" y="1067"/>
                    </a:lnTo>
                    <a:lnTo>
                      <a:pt x="708" y="922"/>
                    </a:lnTo>
                    <a:lnTo>
                      <a:pt x="786" y="988"/>
                    </a:lnTo>
                    <a:lnTo>
                      <a:pt x="936" y="906"/>
                    </a:lnTo>
                    <a:lnTo>
                      <a:pt x="1013" y="860"/>
                    </a:lnTo>
                    <a:lnTo>
                      <a:pt x="1051" y="781"/>
                    </a:lnTo>
                    <a:lnTo>
                      <a:pt x="1165" y="715"/>
                    </a:lnTo>
                    <a:lnTo>
                      <a:pt x="1179" y="651"/>
                    </a:lnTo>
                    <a:lnTo>
                      <a:pt x="1064" y="620"/>
                    </a:lnTo>
                    <a:lnTo>
                      <a:pt x="1013" y="447"/>
                    </a:lnTo>
                    <a:lnTo>
                      <a:pt x="901" y="476"/>
                    </a:lnTo>
                    <a:lnTo>
                      <a:pt x="901" y="365"/>
                    </a:lnTo>
                    <a:lnTo>
                      <a:pt x="847" y="304"/>
                    </a:lnTo>
                    <a:lnTo>
                      <a:pt x="672" y="191"/>
                    </a:lnTo>
                    <a:lnTo>
                      <a:pt x="542" y="175"/>
                    </a:lnTo>
                    <a:lnTo>
                      <a:pt x="481" y="112"/>
                    </a:lnTo>
                    <a:lnTo>
                      <a:pt x="201" y="0"/>
                    </a:lnTo>
                    <a:lnTo>
                      <a:pt x="165" y="33"/>
                    </a:lnTo>
                    <a:lnTo>
                      <a:pt x="165" y="126"/>
                    </a:lnTo>
                    <a:lnTo>
                      <a:pt x="215" y="157"/>
                    </a:lnTo>
                    <a:lnTo>
                      <a:pt x="215" y="256"/>
                    </a:lnTo>
                    <a:lnTo>
                      <a:pt x="176" y="318"/>
                    </a:lnTo>
                    <a:lnTo>
                      <a:pt x="138" y="365"/>
                    </a:lnTo>
                    <a:lnTo>
                      <a:pt x="65" y="383"/>
                    </a:lnTo>
                    <a:lnTo>
                      <a:pt x="0" y="506"/>
                    </a:lnTo>
                    <a:lnTo>
                      <a:pt x="150" y="828"/>
                    </a:lnTo>
                    <a:lnTo>
                      <a:pt x="150" y="1034"/>
                    </a:lnTo>
                    <a:lnTo>
                      <a:pt x="124" y="1096"/>
                    </a:lnTo>
                    <a:lnTo>
                      <a:pt x="150" y="1178"/>
                    </a:lnTo>
                    <a:lnTo>
                      <a:pt x="327" y="1258"/>
                    </a:lnTo>
                    <a:lnTo>
                      <a:pt x="378" y="1225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56" name="Freeform 158"/>
              <p:cNvSpPr>
                <a:spLocks/>
              </p:cNvSpPr>
              <p:nvPr/>
            </p:nvSpPr>
            <p:spPr bwMode="gray">
              <a:xfrm>
                <a:off x="3719173" y="5837239"/>
                <a:ext cx="204792" cy="74613"/>
              </a:xfrm>
              <a:custGeom>
                <a:avLst/>
                <a:gdLst>
                  <a:gd name="T0" fmla="*/ 118 w 699"/>
                  <a:gd name="T1" fmla="*/ 32 h 448"/>
                  <a:gd name="T2" fmla="*/ 118 w 699"/>
                  <a:gd name="T3" fmla="*/ 22 h 448"/>
                  <a:gd name="T4" fmla="*/ 97 w 699"/>
                  <a:gd name="T5" fmla="*/ 18 h 448"/>
                  <a:gd name="T6" fmla="*/ 93 w 699"/>
                  <a:gd name="T7" fmla="*/ 12 h 448"/>
                  <a:gd name="T8" fmla="*/ 84 w 699"/>
                  <a:gd name="T9" fmla="*/ 12 h 448"/>
                  <a:gd name="T10" fmla="*/ 75 w 699"/>
                  <a:gd name="T11" fmla="*/ 4 h 448"/>
                  <a:gd name="T12" fmla="*/ 52 w 699"/>
                  <a:gd name="T13" fmla="*/ 4 h 448"/>
                  <a:gd name="T14" fmla="*/ 35 w 699"/>
                  <a:gd name="T15" fmla="*/ 12 h 448"/>
                  <a:gd name="T16" fmla="*/ 22 w 699"/>
                  <a:gd name="T17" fmla="*/ 0 h 448"/>
                  <a:gd name="T18" fmla="*/ 11 w 699"/>
                  <a:gd name="T19" fmla="*/ 0 h 448"/>
                  <a:gd name="T20" fmla="*/ 0 w 699"/>
                  <a:gd name="T21" fmla="*/ 7 h 448"/>
                  <a:gd name="T22" fmla="*/ 7 w 699"/>
                  <a:gd name="T23" fmla="*/ 18 h 448"/>
                  <a:gd name="T24" fmla="*/ 26 w 699"/>
                  <a:gd name="T25" fmla="*/ 25 h 448"/>
                  <a:gd name="T26" fmla="*/ 41 w 699"/>
                  <a:gd name="T27" fmla="*/ 35 h 448"/>
                  <a:gd name="T28" fmla="*/ 37 w 699"/>
                  <a:gd name="T29" fmla="*/ 40 h 448"/>
                  <a:gd name="T30" fmla="*/ 63 w 699"/>
                  <a:gd name="T31" fmla="*/ 47 h 448"/>
                  <a:gd name="T32" fmla="*/ 82 w 699"/>
                  <a:gd name="T33" fmla="*/ 39 h 448"/>
                  <a:gd name="T34" fmla="*/ 103 w 699"/>
                  <a:gd name="T35" fmla="*/ 39 h 448"/>
                  <a:gd name="T36" fmla="*/ 118 w 699"/>
                  <a:gd name="T37" fmla="*/ 32 h 448"/>
                  <a:gd name="T38" fmla="*/ 118 w 699"/>
                  <a:gd name="T39" fmla="*/ 32 h 448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699"/>
                  <a:gd name="T61" fmla="*/ 0 h 448"/>
                  <a:gd name="T62" fmla="*/ 699 w 699"/>
                  <a:gd name="T63" fmla="*/ 448 h 448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699" h="448">
                    <a:moveTo>
                      <a:pt x="699" y="301"/>
                    </a:moveTo>
                    <a:lnTo>
                      <a:pt x="699" y="209"/>
                    </a:lnTo>
                    <a:lnTo>
                      <a:pt x="574" y="176"/>
                    </a:lnTo>
                    <a:lnTo>
                      <a:pt x="550" y="111"/>
                    </a:lnTo>
                    <a:lnTo>
                      <a:pt x="496" y="111"/>
                    </a:lnTo>
                    <a:lnTo>
                      <a:pt x="447" y="37"/>
                    </a:lnTo>
                    <a:lnTo>
                      <a:pt x="308" y="37"/>
                    </a:lnTo>
                    <a:lnTo>
                      <a:pt x="209" y="111"/>
                    </a:lnTo>
                    <a:lnTo>
                      <a:pt x="131" y="0"/>
                    </a:lnTo>
                    <a:lnTo>
                      <a:pt x="68" y="0"/>
                    </a:lnTo>
                    <a:lnTo>
                      <a:pt x="0" y="65"/>
                    </a:lnTo>
                    <a:lnTo>
                      <a:pt x="41" y="176"/>
                    </a:lnTo>
                    <a:lnTo>
                      <a:pt x="155" y="242"/>
                    </a:lnTo>
                    <a:lnTo>
                      <a:pt x="242" y="336"/>
                    </a:lnTo>
                    <a:lnTo>
                      <a:pt x="220" y="385"/>
                    </a:lnTo>
                    <a:lnTo>
                      <a:pt x="373" y="448"/>
                    </a:lnTo>
                    <a:lnTo>
                      <a:pt x="484" y="369"/>
                    </a:lnTo>
                    <a:lnTo>
                      <a:pt x="613" y="369"/>
                    </a:lnTo>
                    <a:lnTo>
                      <a:pt x="699" y="301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57" name="Freeform 159"/>
              <p:cNvSpPr>
                <a:spLocks/>
              </p:cNvSpPr>
              <p:nvPr/>
            </p:nvSpPr>
            <p:spPr bwMode="gray">
              <a:xfrm>
                <a:off x="3726116" y="5895976"/>
                <a:ext cx="45124" cy="25400"/>
              </a:xfrm>
              <a:custGeom>
                <a:avLst/>
                <a:gdLst>
                  <a:gd name="T0" fmla="*/ 26 w 150"/>
                  <a:gd name="T1" fmla="*/ 15 h 158"/>
                  <a:gd name="T2" fmla="*/ 22 w 150"/>
                  <a:gd name="T3" fmla="*/ 0 h 158"/>
                  <a:gd name="T4" fmla="*/ 0 w 150"/>
                  <a:gd name="T5" fmla="*/ 13 h 158"/>
                  <a:gd name="T6" fmla="*/ 2 w 150"/>
                  <a:gd name="T7" fmla="*/ 16 h 158"/>
                  <a:gd name="T8" fmla="*/ 26 w 150"/>
                  <a:gd name="T9" fmla="*/ 15 h 158"/>
                  <a:gd name="T10" fmla="*/ 26 w 150"/>
                  <a:gd name="T11" fmla="*/ 15 h 15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50"/>
                  <a:gd name="T19" fmla="*/ 0 h 158"/>
                  <a:gd name="T20" fmla="*/ 150 w 150"/>
                  <a:gd name="T21" fmla="*/ 158 h 15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50" h="158">
                    <a:moveTo>
                      <a:pt x="150" y="147"/>
                    </a:moveTo>
                    <a:lnTo>
                      <a:pt x="126" y="0"/>
                    </a:lnTo>
                    <a:lnTo>
                      <a:pt x="0" y="125"/>
                    </a:lnTo>
                    <a:lnTo>
                      <a:pt x="12" y="158"/>
                    </a:lnTo>
                    <a:lnTo>
                      <a:pt x="150" y="147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58" name="Freeform 160"/>
              <p:cNvSpPr>
                <a:spLocks/>
              </p:cNvSpPr>
              <p:nvPr/>
            </p:nvSpPr>
            <p:spPr bwMode="gray">
              <a:xfrm>
                <a:off x="3620248" y="5848351"/>
                <a:ext cx="69421" cy="36513"/>
              </a:xfrm>
              <a:custGeom>
                <a:avLst/>
                <a:gdLst>
                  <a:gd name="T0" fmla="*/ 36 w 239"/>
                  <a:gd name="T1" fmla="*/ 23 h 225"/>
                  <a:gd name="T2" fmla="*/ 40 w 239"/>
                  <a:gd name="T3" fmla="*/ 15 h 225"/>
                  <a:gd name="T4" fmla="*/ 27 w 239"/>
                  <a:gd name="T5" fmla="*/ 7 h 225"/>
                  <a:gd name="T6" fmla="*/ 25 w 239"/>
                  <a:gd name="T7" fmla="*/ 0 h 225"/>
                  <a:gd name="T8" fmla="*/ 0 w 239"/>
                  <a:gd name="T9" fmla="*/ 0 h 225"/>
                  <a:gd name="T10" fmla="*/ 0 w 239"/>
                  <a:gd name="T11" fmla="*/ 8 h 225"/>
                  <a:gd name="T12" fmla="*/ 12 w 239"/>
                  <a:gd name="T13" fmla="*/ 15 h 225"/>
                  <a:gd name="T14" fmla="*/ 36 w 239"/>
                  <a:gd name="T15" fmla="*/ 23 h 225"/>
                  <a:gd name="T16" fmla="*/ 36 w 239"/>
                  <a:gd name="T17" fmla="*/ 23 h 22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39"/>
                  <a:gd name="T28" fmla="*/ 0 h 225"/>
                  <a:gd name="T29" fmla="*/ 239 w 239"/>
                  <a:gd name="T30" fmla="*/ 225 h 22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39" h="225">
                    <a:moveTo>
                      <a:pt x="215" y="225"/>
                    </a:moveTo>
                    <a:lnTo>
                      <a:pt x="239" y="144"/>
                    </a:lnTo>
                    <a:lnTo>
                      <a:pt x="161" y="65"/>
                    </a:lnTo>
                    <a:lnTo>
                      <a:pt x="152" y="0"/>
                    </a:lnTo>
                    <a:lnTo>
                      <a:pt x="0" y="0"/>
                    </a:lnTo>
                    <a:lnTo>
                      <a:pt x="0" y="78"/>
                    </a:lnTo>
                    <a:lnTo>
                      <a:pt x="74" y="144"/>
                    </a:lnTo>
                    <a:lnTo>
                      <a:pt x="215" y="225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59" name="Freeform 161"/>
              <p:cNvSpPr>
                <a:spLocks/>
              </p:cNvSpPr>
              <p:nvPr/>
            </p:nvSpPr>
            <p:spPr bwMode="gray">
              <a:xfrm>
                <a:off x="3552563" y="5800726"/>
                <a:ext cx="163139" cy="31750"/>
              </a:xfrm>
              <a:custGeom>
                <a:avLst/>
                <a:gdLst>
                  <a:gd name="T0" fmla="*/ 94 w 558"/>
                  <a:gd name="T1" fmla="*/ 8 h 191"/>
                  <a:gd name="T2" fmla="*/ 86 w 558"/>
                  <a:gd name="T3" fmla="*/ 3 h 191"/>
                  <a:gd name="T4" fmla="*/ 62 w 558"/>
                  <a:gd name="T5" fmla="*/ 8 h 191"/>
                  <a:gd name="T6" fmla="*/ 7 w 558"/>
                  <a:gd name="T7" fmla="*/ 0 h 191"/>
                  <a:gd name="T8" fmla="*/ 0 w 558"/>
                  <a:gd name="T9" fmla="*/ 10 h 191"/>
                  <a:gd name="T10" fmla="*/ 0 w 558"/>
                  <a:gd name="T11" fmla="*/ 15 h 191"/>
                  <a:gd name="T12" fmla="*/ 26 w 558"/>
                  <a:gd name="T13" fmla="*/ 17 h 191"/>
                  <a:gd name="T14" fmla="*/ 39 w 558"/>
                  <a:gd name="T15" fmla="*/ 13 h 191"/>
                  <a:gd name="T16" fmla="*/ 51 w 558"/>
                  <a:gd name="T17" fmla="*/ 20 h 191"/>
                  <a:gd name="T18" fmla="*/ 73 w 558"/>
                  <a:gd name="T19" fmla="*/ 20 h 191"/>
                  <a:gd name="T20" fmla="*/ 86 w 558"/>
                  <a:gd name="T21" fmla="*/ 15 h 191"/>
                  <a:gd name="T22" fmla="*/ 94 w 558"/>
                  <a:gd name="T23" fmla="*/ 8 h 191"/>
                  <a:gd name="T24" fmla="*/ 94 w 558"/>
                  <a:gd name="T25" fmla="*/ 8 h 19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58"/>
                  <a:gd name="T40" fmla="*/ 0 h 191"/>
                  <a:gd name="T41" fmla="*/ 558 w 558"/>
                  <a:gd name="T42" fmla="*/ 191 h 191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58" h="191">
                    <a:moveTo>
                      <a:pt x="558" y="79"/>
                    </a:moveTo>
                    <a:lnTo>
                      <a:pt x="508" y="30"/>
                    </a:lnTo>
                    <a:lnTo>
                      <a:pt x="370" y="79"/>
                    </a:lnTo>
                    <a:lnTo>
                      <a:pt x="40" y="0"/>
                    </a:lnTo>
                    <a:lnTo>
                      <a:pt x="0" y="97"/>
                    </a:lnTo>
                    <a:lnTo>
                      <a:pt x="0" y="144"/>
                    </a:lnTo>
                    <a:lnTo>
                      <a:pt x="153" y="158"/>
                    </a:lnTo>
                    <a:lnTo>
                      <a:pt x="231" y="120"/>
                    </a:lnTo>
                    <a:lnTo>
                      <a:pt x="305" y="191"/>
                    </a:lnTo>
                    <a:lnTo>
                      <a:pt x="432" y="191"/>
                    </a:lnTo>
                    <a:lnTo>
                      <a:pt x="508" y="144"/>
                    </a:lnTo>
                    <a:lnTo>
                      <a:pt x="558" y="79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60" name="Freeform 162"/>
              <p:cNvSpPr>
                <a:spLocks/>
              </p:cNvSpPr>
              <p:nvPr/>
            </p:nvSpPr>
            <p:spPr bwMode="gray">
              <a:xfrm>
                <a:off x="3280085" y="5727701"/>
                <a:ext cx="175288" cy="73025"/>
              </a:xfrm>
              <a:custGeom>
                <a:avLst/>
                <a:gdLst>
                  <a:gd name="T0" fmla="*/ 99 w 595"/>
                  <a:gd name="T1" fmla="*/ 41 h 444"/>
                  <a:gd name="T2" fmla="*/ 101 w 595"/>
                  <a:gd name="T3" fmla="*/ 36 h 444"/>
                  <a:gd name="T4" fmla="*/ 90 w 595"/>
                  <a:gd name="T5" fmla="*/ 34 h 444"/>
                  <a:gd name="T6" fmla="*/ 90 w 595"/>
                  <a:gd name="T7" fmla="*/ 23 h 444"/>
                  <a:gd name="T8" fmla="*/ 80 w 595"/>
                  <a:gd name="T9" fmla="*/ 28 h 444"/>
                  <a:gd name="T10" fmla="*/ 69 w 595"/>
                  <a:gd name="T11" fmla="*/ 16 h 444"/>
                  <a:gd name="T12" fmla="*/ 77 w 595"/>
                  <a:gd name="T13" fmla="*/ 16 h 444"/>
                  <a:gd name="T14" fmla="*/ 56 w 595"/>
                  <a:gd name="T15" fmla="*/ 0 h 444"/>
                  <a:gd name="T16" fmla="*/ 43 w 595"/>
                  <a:gd name="T17" fmla="*/ 0 h 444"/>
                  <a:gd name="T18" fmla="*/ 30 w 595"/>
                  <a:gd name="T19" fmla="*/ 13 h 444"/>
                  <a:gd name="T20" fmla="*/ 0 w 595"/>
                  <a:gd name="T21" fmla="*/ 13 h 444"/>
                  <a:gd name="T22" fmla="*/ 11 w 595"/>
                  <a:gd name="T23" fmla="*/ 30 h 444"/>
                  <a:gd name="T24" fmla="*/ 23 w 595"/>
                  <a:gd name="T25" fmla="*/ 43 h 444"/>
                  <a:gd name="T26" fmla="*/ 52 w 595"/>
                  <a:gd name="T27" fmla="*/ 43 h 444"/>
                  <a:gd name="T28" fmla="*/ 45 w 595"/>
                  <a:gd name="T29" fmla="*/ 36 h 444"/>
                  <a:gd name="T30" fmla="*/ 60 w 595"/>
                  <a:gd name="T31" fmla="*/ 36 h 444"/>
                  <a:gd name="T32" fmla="*/ 67 w 595"/>
                  <a:gd name="T33" fmla="*/ 38 h 444"/>
                  <a:gd name="T34" fmla="*/ 75 w 595"/>
                  <a:gd name="T35" fmla="*/ 46 h 444"/>
                  <a:gd name="T36" fmla="*/ 99 w 595"/>
                  <a:gd name="T37" fmla="*/ 41 h 444"/>
                  <a:gd name="T38" fmla="*/ 99 w 595"/>
                  <a:gd name="T39" fmla="*/ 41 h 444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595"/>
                  <a:gd name="T61" fmla="*/ 0 h 444"/>
                  <a:gd name="T62" fmla="*/ 595 w 595"/>
                  <a:gd name="T63" fmla="*/ 444 h 444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595" h="444">
                    <a:moveTo>
                      <a:pt x="584" y="395"/>
                    </a:moveTo>
                    <a:lnTo>
                      <a:pt x="595" y="346"/>
                    </a:lnTo>
                    <a:lnTo>
                      <a:pt x="532" y="332"/>
                    </a:lnTo>
                    <a:lnTo>
                      <a:pt x="532" y="221"/>
                    </a:lnTo>
                    <a:lnTo>
                      <a:pt x="469" y="269"/>
                    </a:lnTo>
                    <a:lnTo>
                      <a:pt x="406" y="158"/>
                    </a:lnTo>
                    <a:lnTo>
                      <a:pt x="455" y="158"/>
                    </a:lnTo>
                    <a:lnTo>
                      <a:pt x="330" y="0"/>
                    </a:lnTo>
                    <a:lnTo>
                      <a:pt x="252" y="0"/>
                    </a:lnTo>
                    <a:lnTo>
                      <a:pt x="177" y="126"/>
                    </a:lnTo>
                    <a:lnTo>
                      <a:pt x="0" y="126"/>
                    </a:lnTo>
                    <a:lnTo>
                      <a:pt x="66" y="286"/>
                    </a:lnTo>
                    <a:lnTo>
                      <a:pt x="137" y="411"/>
                    </a:lnTo>
                    <a:lnTo>
                      <a:pt x="305" y="411"/>
                    </a:lnTo>
                    <a:lnTo>
                      <a:pt x="267" y="346"/>
                    </a:lnTo>
                    <a:lnTo>
                      <a:pt x="354" y="346"/>
                    </a:lnTo>
                    <a:lnTo>
                      <a:pt x="393" y="367"/>
                    </a:lnTo>
                    <a:lnTo>
                      <a:pt x="442" y="444"/>
                    </a:lnTo>
                    <a:lnTo>
                      <a:pt x="584" y="395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61" name="Freeform 163"/>
              <p:cNvSpPr>
                <a:spLocks/>
              </p:cNvSpPr>
              <p:nvPr/>
            </p:nvSpPr>
            <p:spPr bwMode="gray">
              <a:xfrm>
                <a:off x="2985046" y="5651501"/>
                <a:ext cx="142313" cy="65088"/>
              </a:xfrm>
              <a:custGeom>
                <a:avLst/>
                <a:gdLst>
                  <a:gd name="T0" fmla="*/ 56 w 480"/>
                  <a:gd name="T1" fmla="*/ 36 h 399"/>
                  <a:gd name="T2" fmla="*/ 63 w 480"/>
                  <a:gd name="T3" fmla="*/ 31 h 399"/>
                  <a:gd name="T4" fmla="*/ 67 w 480"/>
                  <a:gd name="T5" fmla="*/ 28 h 399"/>
                  <a:gd name="T6" fmla="*/ 67 w 480"/>
                  <a:gd name="T7" fmla="*/ 20 h 399"/>
                  <a:gd name="T8" fmla="*/ 82 w 480"/>
                  <a:gd name="T9" fmla="*/ 15 h 399"/>
                  <a:gd name="T10" fmla="*/ 82 w 480"/>
                  <a:gd name="T11" fmla="*/ 7 h 399"/>
                  <a:gd name="T12" fmla="*/ 73 w 480"/>
                  <a:gd name="T13" fmla="*/ 0 h 399"/>
                  <a:gd name="T14" fmla="*/ 50 w 480"/>
                  <a:gd name="T15" fmla="*/ 0 h 399"/>
                  <a:gd name="T16" fmla="*/ 39 w 480"/>
                  <a:gd name="T17" fmla="*/ 2 h 399"/>
                  <a:gd name="T18" fmla="*/ 11 w 480"/>
                  <a:gd name="T19" fmla="*/ 8 h 399"/>
                  <a:gd name="T20" fmla="*/ 0 w 480"/>
                  <a:gd name="T21" fmla="*/ 18 h 399"/>
                  <a:gd name="T22" fmla="*/ 0 w 480"/>
                  <a:gd name="T23" fmla="*/ 29 h 399"/>
                  <a:gd name="T24" fmla="*/ 28 w 480"/>
                  <a:gd name="T25" fmla="*/ 31 h 399"/>
                  <a:gd name="T26" fmla="*/ 37 w 480"/>
                  <a:gd name="T27" fmla="*/ 41 h 399"/>
                  <a:gd name="T28" fmla="*/ 50 w 480"/>
                  <a:gd name="T29" fmla="*/ 37 h 399"/>
                  <a:gd name="T30" fmla="*/ 56 w 480"/>
                  <a:gd name="T31" fmla="*/ 36 h 399"/>
                  <a:gd name="T32" fmla="*/ 56 w 480"/>
                  <a:gd name="T33" fmla="*/ 36 h 39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480"/>
                  <a:gd name="T52" fmla="*/ 0 h 399"/>
                  <a:gd name="T53" fmla="*/ 480 w 480"/>
                  <a:gd name="T54" fmla="*/ 399 h 399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480" h="399">
                    <a:moveTo>
                      <a:pt x="330" y="350"/>
                    </a:moveTo>
                    <a:lnTo>
                      <a:pt x="368" y="306"/>
                    </a:lnTo>
                    <a:lnTo>
                      <a:pt x="390" y="272"/>
                    </a:lnTo>
                    <a:lnTo>
                      <a:pt x="390" y="192"/>
                    </a:lnTo>
                    <a:lnTo>
                      <a:pt x="480" y="143"/>
                    </a:lnTo>
                    <a:lnTo>
                      <a:pt x="480" y="67"/>
                    </a:lnTo>
                    <a:lnTo>
                      <a:pt x="430" y="0"/>
                    </a:lnTo>
                    <a:lnTo>
                      <a:pt x="291" y="0"/>
                    </a:lnTo>
                    <a:lnTo>
                      <a:pt x="226" y="15"/>
                    </a:lnTo>
                    <a:lnTo>
                      <a:pt x="63" y="81"/>
                    </a:lnTo>
                    <a:lnTo>
                      <a:pt x="0" y="176"/>
                    </a:lnTo>
                    <a:lnTo>
                      <a:pt x="0" y="287"/>
                    </a:lnTo>
                    <a:lnTo>
                      <a:pt x="164" y="306"/>
                    </a:lnTo>
                    <a:lnTo>
                      <a:pt x="215" y="399"/>
                    </a:lnTo>
                    <a:lnTo>
                      <a:pt x="291" y="364"/>
                    </a:lnTo>
                    <a:lnTo>
                      <a:pt x="330" y="35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62" name="Freeform 164"/>
              <p:cNvSpPr>
                <a:spLocks/>
              </p:cNvSpPr>
              <p:nvPr/>
            </p:nvSpPr>
            <p:spPr bwMode="gray">
              <a:xfrm>
                <a:off x="2863559" y="5689601"/>
                <a:ext cx="62479" cy="39688"/>
              </a:xfrm>
              <a:custGeom>
                <a:avLst/>
                <a:gdLst>
                  <a:gd name="T0" fmla="*/ 4 w 213"/>
                  <a:gd name="T1" fmla="*/ 25 h 239"/>
                  <a:gd name="T2" fmla="*/ 10 w 213"/>
                  <a:gd name="T3" fmla="*/ 15 h 239"/>
                  <a:gd name="T4" fmla="*/ 28 w 213"/>
                  <a:gd name="T5" fmla="*/ 10 h 239"/>
                  <a:gd name="T6" fmla="*/ 28 w 213"/>
                  <a:gd name="T7" fmla="*/ 7 h 239"/>
                  <a:gd name="T8" fmla="*/ 36 w 213"/>
                  <a:gd name="T9" fmla="*/ 0 h 239"/>
                  <a:gd name="T10" fmla="*/ 23 w 213"/>
                  <a:gd name="T11" fmla="*/ 0 h 239"/>
                  <a:gd name="T12" fmla="*/ 15 w 213"/>
                  <a:gd name="T13" fmla="*/ 8 h 239"/>
                  <a:gd name="T14" fmla="*/ 2 w 213"/>
                  <a:gd name="T15" fmla="*/ 10 h 239"/>
                  <a:gd name="T16" fmla="*/ 0 w 213"/>
                  <a:gd name="T17" fmla="*/ 25 h 239"/>
                  <a:gd name="T18" fmla="*/ 4 w 213"/>
                  <a:gd name="T19" fmla="*/ 25 h 239"/>
                  <a:gd name="T20" fmla="*/ 4 w 213"/>
                  <a:gd name="T21" fmla="*/ 25 h 239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13"/>
                  <a:gd name="T34" fmla="*/ 0 h 239"/>
                  <a:gd name="T35" fmla="*/ 213 w 213"/>
                  <a:gd name="T36" fmla="*/ 239 h 239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13" h="239">
                    <a:moveTo>
                      <a:pt x="25" y="239"/>
                    </a:moveTo>
                    <a:lnTo>
                      <a:pt x="59" y="142"/>
                    </a:lnTo>
                    <a:lnTo>
                      <a:pt x="163" y="97"/>
                    </a:lnTo>
                    <a:lnTo>
                      <a:pt x="163" y="67"/>
                    </a:lnTo>
                    <a:lnTo>
                      <a:pt x="213" y="0"/>
                    </a:lnTo>
                    <a:lnTo>
                      <a:pt x="138" y="0"/>
                    </a:lnTo>
                    <a:lnTo>
                      <a:pt x="87" y="81"/>
                    </a:lnTo>
                    <a:lnTo>
                      <a:pt x="10" y="97"/>
                    </a:lnTo>
                    <a:lnTo>
                      <a:pt x="0" y="239"/>
                    </a:lnTo>
                    <a:lnTo>
                      <a:pt x="25" y="239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296" name="Group 295"/>
            <p:cNvGrpSpPr/>
            <p:nvPr/>
          </p:nvGrpSpPr>
          <p:grpSpPr>
            <a:xfrm>
              <a:off x="1435977" y="1609725"/>
              <a:ext cx="6948670" cy="4089400"/>
              <a:chOff x="1435977" y="1609725"/>
              <a:chExt cx="6948670" cy="4089400"/>
            </a:xfrm>
            <a:grpFill/>
            <a:effectLst/>
          </p:grpSpPr>
          <p:sp>
            <p:nvSpPr>
              <p:cNvPr id="297" name="Freeform 58"/>
              <p:cNvSpPr>
                <a:spLocks/>
              </p:cNvSpPr>
              <p:nvPr>
                <p:custDataLst>
                  <p:tags r:id="rId1"/>
                </p:custDataLst>
              </p:nvPr>
            </p:nvSpPr>
            <p:spPr bwMode="gray">
              <a:xfrm>
                <a:off x="6336718" y="4694238"/>
                <a:ext cx="1225582" cy="869950"/>
              </a:xfrm>
              <a:custGeom>
                <a:avLst/>
                <a:gdLst>
                  <a:gd name="T0" fmla="*/ 558 w 772"/>
                  <a:gd name="T1" fmla="*/ 16 h 548"/>
                  <a:gd name="T2" fmla="*/ 575 w 772"/>
                  <a:gd name="T3" fmla="*/ 76 h 548"/>
                  <a:gd name="T4" fmla="*/ 649 w 772"/>
                  <a:gd name="T5" fmla="*/ 176 h 548"/>
                  <a:gd name="T6" fmla="*/ 680 w 772"/>
                  <a:gd name="T7" fmla="*/ 176 h 548"/>
                  <a:gd name="T8" fmla="*/ 684 w 772"/>
                  <a:gd name="T9" fmla="*/ 232 h 548"/>
                  <a:gd name="T10" fmla="*/ 746 w 772"/>
                  <a:gd name="T11" fmla="*/ 328 h 548"/>
                  <a:gd name="T12" fmla="*/ 759 w 772"/>
                  <a:gd name="T13" fmla="*/ 412 h 548"/>
                  <a:gd name="T14" fmla="*/ 772 w 772"/>
                  <a:gd name="T15" fmla="*/ 468 h 548"/>
                  <a:gd name="T16" fmla="*/ 759 w 772"/>
                  <a:gd name="T17" fmla="*/ 492 h 548"/>
                  <a:gd name="T18" fmla="*/ 737 w 772"/>
                  <a:gd name="T19" fmla="*/ 544 h 548"/>
                  <a:gd name="T20" fmla="*/ 719 w 772"/>
                  <a:gd name="T21" fmla="*/ 536 h 548"/>
                  <a:gd name="T22" fmla="*/ 693 w 772"/>
                  <a:gd name="T23" fmla="*/ 548 h 548"/>
                  <a:gd name="T24" fmla="*/ 671 w 772"/>
                  <a:gd name="T25" fmla="*/ 516 h 548"/>
                  <a:gd name="T26" fmla="*/ 601 w 772"/>
                  <a:gd name="T27" fmla="*/ 468 h 548"/>
                  <a:gd name="T28" fmla="*/ 579 w 772"/>
                  <a:gd name="T29" fmla="*/ 412 h 548"/>
                  <a:gd name="T30" fmla="*/ 544 w 772"/>
                  <a:gd name="T31" fmla="*/ 396 h 548"/>
                  <a:gd name="T32" fmla="*/ 509 w 772"/>
                  <a:gd name="T33" fmla="*/ 364 h 548"/>
                  <a:gd name="T34" fmla="*/ 492 w 772"/>
                  <a:gd name="T35" fmla="*/ 304 h 548"/>
                  <a:gd name="T36" fmla="*/ 474 w 772"/>
                  <a:gd name="T37" fmla="*/ 304 h 548"/>
                  <a:gd name="T38" fmla="*/ 466 w 772"/>
                  <a:gd name="T39" fmla="*/ 272 h 548"/>
                  <a:gd name="T40" fmla="*/ 470 w 772"/>
                  <a:gd name="T41" fmla="*/ 236 h 548"/>
                  <a:gd name="T42" fmla="*/ 461 w 772"/>
                  <a:gd name="T43" fmla="*/ 172 h 548"/>
                  <a:gd name="T44" fmla="*/ 422 w 772"/>
                  <a:gd name="T45" fmla="*/ 144 h 548"/>
                  <a:gd name="T46" fmla="*/ 387 w 772"/>
                  <a:gd name="T47" fmla="*/ 144 h 548"/>
                  <a:gd name="T48" fmla="*/ 374 w 772"/>
                  <a:gd name="T49" fmla="*/ 116 h 548"/>
                  <a:gd name="T50" fmla="*/ 300 w 772"/>
                  <a:gd name="T51" fmla="*/ 112 h 548"/>
                  <a:gd name="T52" fmla="*/ 291 w 772"/>
                  <a:gd name="T53" fmla="*/ 128 h 548"/>
                  <a:gd name="T54" fmla="*/ 225 w 772"/>
                  <a:gd name="T55" fmla="*/ 156 h 548"/>
                  <a:gd name="T56" fmla="*/ 212 w 772"/>
                  <a:gd name="T57" fmla="*/ 136 h 548"/>
                  <a:gd name="T58" fmla="*/ 186 w 772"/>
                  <a:gd name="T59" fmla="*/ 124 h 548"/>
                  <a:gd name="T60" fmla="*/ 177 w 772"/>
                  <a:gd name="T61" fmla="*/ 112 h 548"/>
                  <a:gd name="T62" fmla="*/ 164 w 772"/>
                  <a:gd name="T63" fmla="*/ 116 h 548"/>
                  <a:gd name="T64" fmla="*/ 133 w 772"/>
                  <a:gd name="T65" fmla="*/ 112 h 548"/>
                  <a:gd name="T66" fmla="*/ 125 w 772"/>
                  <a:gd name="T67" fmla="*/ 100 h 548"/>
                  <a:gd name="T68" fmla="*/ 76 w 772"/>
                  <a:gd name="T69" fmla="*/ 112 h 548"/>
                  <a:gd name="T70" fmla="*/ 68 w 772"/>
                  <a:gd name="T71" fmla="*/ 100 h 548"/>
                  <a:gd name="T72" fmla="*/ 46 w 772"/>
                  <a:gd name="T73" fmla="*/ 116 h 548"/>
                  <a:gd name="T74" fmla="*/ 10 w 772"/>
                  <a:gd name="T75" fmla="*/ 124 h 548"/>
                  <a:gd name="T76" fmla="*/ 15 w 772"/>
                  <a:gd name="T77" fmla="*/ 100 h 548"/>
                  <a:gd name="T78" fmla="*/ 0 w 772"/>
                  <a:gd name="T79" fmla="*/ 67 h 548"/>
                  <a:gd name="T80" fmla="*/ 10 w 772"/>
                  <a:gd name="T81" fmla="*/ 57 h 548"/>
                  <a:gd name="T82" fmla="*/ 230 w 772"/>
                  <a:gd name="T83" fmla="*/ 24 h 548"/>
                  <a:gd name="T84" fmla="*/ 243 w 772"/>
                  <a:gd name="T85" fmla="*/ 48 h 548"/>
                  <a:gd name="T86" fmla="*/ 492 w 772"/>
                  <a:gd name="T87" fmla="*/ 20 h 548"/>
                  <a:gd name="T88" fmla="*/ 505 w 772"/>
                  <a:gd name="T89" fmla="*/ 32 h 548"/>
                  <a:gd name="T90" fmla="*/ 514 w 772"/>
                  <a:gd name="T91" fmla="*/ 32 h 548"/>
                  <a:gd name="T92" fmla="*/ 518 w 772"/>
                  <a:gd name="T93" fmla="*/ 0 h 548"/>
                  <a:gd name="T94" fmla="*/ 536 w 772"/>
                  <a:gd name="T95" fmla="*/ 8 h 548"/>
                  <a:gd name="T96" fmla="*/ 558 w 772"/>
                  <a:gd name="T97" fmla="*/ 16 h 548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772"/>
                  <a:gd name="T148" fmla="*/ 0 h 548"/>
                  <a:gd name="T149" fmla="*/ 772 w 772"/>
                  <a:gd name="T150" fmla="*/ 548 h 548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772" h="548">
                    <a:moveTo>
                      <a:pt x="558" y="16"/>
                    </a:moveTo>
                    <a:lnTo>
                      <a:pt x="575" y="76"/>
                    </a:lnTo>
                    <a:lnTo>
                      <a:pt x="649" y="176"/>
                    </a:lnTo>
                    <a:lnTo>
                      <a:pt x="680" y="176"/>
                    </a:lnTo>
                    <a:lnTo>
                      <a:pt x="684" y="232"/>
                    </a:lnTo>
                    <a:lnTo>
                      <a:pt x="746" y="328"/>
                    </a:lnTo>
                    <a:lnTo>
                      <a:pt x="759" y="412"/>
                    </a:lnTo>
                    <a:lnTo>
                      <a:pt x="772" y="468"/>
                    </a:lnTo>
                    <a:lnTo>
                      <a:pt x="759" y="492"/>
                    </a:lnTo>
                    <a:lnTo>
                      <a:pt x="737" y="544"/>
                    </a:lnTo>
                    <a:lnTo>
                      <a:pt x="719" y="536"/>
                    </a:lnTo>
                    <a:lnTo>
                      <a:pt x="693" y="548"/>
                    </a:lnTo>
                    <a:lnTo>
                      <a:pt x="671" y="516"/>
                    </a:lnTo>
                    <a:lnTo>
                      <a:pt x="601" y="468"/>
                    </a:lnTo>
                    <a:lnTo>
                      <a:pt x="579" y="412"/>
                    </a:lnTo>
                    <a:lnTo>
                      <a:pt x="544" y="396"/>
                    </a:lnTo>
                    <a:lnTo>
                      <a:pt x="509" y="364"/>
                    </a:lnTo>
                    <a:lnTo>
                      <a:pt x="492" y="304"/>
                    </a:lnTo>
                    <a:lnTo>
                      <a:pt x="474" y="304"/>
                    </a:lnTo>
                    <a:lnTo>
                      <a:pt x="466" y="272"/>
                    </a:lnTo>
                    <a:lnTo>
                      <a:pt x="470" y="236"/>
                    </a:lnTo>
                    <a:lnTo>
                      <a:pt x="461" y="172"/>
                    </a:lnTo>
                    <a:lnTo>
                      <a:pt x="422" y="144"/>
                    </a:lnTo>
                    <a:lnTo>
                      <a:pt x="387" y="144"/>
                    </a:lnTo>
                    <a:lnTo>
                      <a:pt x="374" y="116"/>
                    </a:lnTo>
                    <a:lnTo>
                      <a:pt x="300" y="112"/>
                    </a:lnTo>
                    <a:lnTo>
                      <a:pt x="291" y="128"/>
                    </a:lnTo>
                    <a:lnTo>
                      <a:pt x="225" y="156"/>
                    </a:lnTo>
                    <a:lnTo>
                      <a:pt x="212" y="136"/>
                    </a:lnTo>
                    <a:lnTo>
                      <a:pt x="186" y="124"/>
                    </a:lnTo>
                    <a:lnTo>
                      <a:pt x="177" y="112"/>
                    </a:lnTo>
                    <a:lnTo>
                      <a:pt x="164" y="116"/>
                    </a:lnTo>
                    <a:lnTo>
                      <a:pt x="133" y="112"/>
                    </a:lnTo>
                    <a:lnTo>
                      <a:pt x="125" y="100"/>
                    </a:lnTo>
                    <a:lnTo>
                      <a:pt x="76" y="112"/>
                    </a:lnTo>
                    <a:lnTo>
                      <a:pt x="68" y="100"/>
                    </a:lnTo>
                    <a:lnTo>
                      <a:pt x="46" y="116"/>
                    </a:lnTo>
                    <a:lnTo>
                      <a:pt x="10" y="124"/>
                    </a:lnTo>
                    <a:lnTo>
                      <a:pt x="15" y="100"/>
                    </a:lnTo>
                    <a:lnTo>
                      <a:pt x="0" y="67"/>
                    </a:lnTo>
                    <a:lnTo>
                      <a:pt x="10" y="57"/>
                    </a:lnTo>
                    <a:lnTo>
                      <a:pt x="230" y="24"/>
                    </a:lnTo>
                    <a:lnTo>
                      <a:pt x="243" y="48"/>
                    </a:lnTo>
                    <a:lnTo>
                      <a:pt x="492" y="20"/>
                    </a:lnTo>
                    <a:lnTo>
                      <a:pt x="505" y="32"/>
                    </a:lnTo>
                    <a:lnTo>
                      <a:pt x="514" y="32"/>
                    </a:lnTo>
                    <a:lnTo>
                      <a:pt x="518" y="0"/>
                    </a:lnTo>
                    <a:lnTo>
                      <a:pt x="536" y="8"/>
                    </a:lnTo>
                    <a:lnTo>
                      <a:pt x="558" y="16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98" name="Freeform 223"/>
              <p:cNvSpPr>
                <a:spLocks/>
              </p:cNvSpPr>
              <p:nvPr>
                <p:custDataLst>
                  <p:tags r:id="rId2"/>
                </p:custDataLst>
              </p:nvPr>
            </p:nvSpPr>
            <p:spPr bwMode="gray">
              <a:xfrm rot="21117057">
                <a:off x="6162089" y="4110038"/>
                <a:ext cx="504838" cy="771525"/>
              </a:xfrm>
              <a:custGeom>
                <a:avLst/>
                <a:gdLst>
                  <a:gd name="T0" fmla="*/ 2 w 1045"/>
                  <a:gd name="T1" fmla="*/ 477 h 1597"/>
                  <a:gd name="T2" fmla="*/ 0 w 1045"/>
                  <a:gd name="T3" fmla="*/ 308 h 1597"/>
                  <a:gd name="T4" fmla="*/ 43 w 1045"/>
                  <a:gd name="T5" fmla="*/ 1 h 1597"/>
                  <a:gd name="T6" fmla="*/ 266 w 1045"/>
                  <a:gd name="T7" fmla="*/ 0 h 1597"/>
                  <a:gd name="T8" fmla="*/ 317 w 1045"/>
                  <a:gd name="T9" fmla="*/ 295 h 1597"/>
                  <a:gd name="T10" fmla="*/ 308 w 1045"/>
                  <a:gd name="T11" fmla="*/ 335 h 1597"/>
                  <a:gd name="T12" fmla="*/ 302 w 1045"/>
                  <a:gd name="T13" fmla="*/ 379 h 1597"/>
                  <a:gd name="T14" fmla="*/ 318 w 1045"/>
                  <a:gd name="T15" fmla="*/ 419 h 1597"/>
                  <a:gd name="T16" fmla="*/ 92 w 1045"/>
                  <a:gd name="T17" fmla="*/ 418 h 1597"/>
                  <a:gd name="T18" fmla="*/ 84 w 1045"/>
                  <a:gd name="T19" fmla="*/ 430 h 1597"/>
                  <a:gd name="T20" fmla="*/ 93 w 1045"/>
                  <a:gd name="T21" fmla="*/ 460 h 1597"/>
                  <a:gd name="T22" fmla="*/ 85 w 1045"/>
                  <a:gd name="T23" fmla="*/ 486 h 1597"/>
                  <a:gd name="T24" fmla="*/ 54 w 1045"/>
                  <a:gd name="T25" fmla="*/ 485 h 1597"/>
                  <a:gd name="T26" fmla="*/ 48 w 1045"/>
                  <a:gd name="T27" fmla="*/ 468 h 1597"/>
                  <a:gd name="T28" fmla="*/ 46 w 1045"/>
                  <a:gd name="T29" fmla="*/ 455 h 1597"/>
                  <a:gd name="T30" fmla="*/ 38 w 1045"/>
                  <a:gd name="T31" fmla="*/ 449 h 1597"/>
                  <a:gd name="T32" fmla="*/ 28 w 1045"/>
                  <a:gd name="T33" fmla="*/ 453 h 1597"/>
                  <a:gd name="T34" fmla="*/ 24 w 1045"/>
                  <a:gd name="T35" fmla="*/ 475 h 1597"/>
                  <a:gd name="T36" fmla="*/ 15 w 1045"/>
                  <a:gd name="T37" fmla="*/ 479 h 1597"/>
                  <a:gd name="T38" fmla="*/ 2 w 1045"/>
                  <a:gd name="T39" fmla="*/ 477 h 1597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045"/>
                  <a:gd name="T61" fmla="*/ 0 h 1597"/>
                  <a:gd name="T62" fmla="*/ 1045 w 1045"/>
                  <a:gd name="T63" fmla="*/ 1597 h 1597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045" h="1597">
                    <a:moveTo>
                      <a:pt x="7" y="1567"/>
                    </a:moveTo>
                    <a:lnTo>
                      <a:pt x="0" y="1011"/>
                    </a:lnTo>
                    <a:lnTo>
                      <a:pt x="142" y="3"/>
                    </a:lnTo>
                    <a:lnTo>
                      <a:pt x="874" y="0"/>
                    </a:lnTo>
                    <a:lnTo>
                      <a:pt x="1043" y="971"/>
                    </a:lnTo>
                    <a:lnTo>
                      <a:pt x="1011" y="1101"/>
                    </a:lnTo>
                    <a:lnTo>
                      <a:pt x="991" y="1245"/>
                    </a:lnTo>
                    <a:lnTo>
                      <a:pt x="1045" y="1376"/>
                    </a:lnTo>
                    <a:lnTo>
                      <a:pt x="301" y="1375"/>
                    </a:lnTo>
                    <a:lnTo>
                      <a:pt x="277" y="1414"/>
                    </a:lnTo>
                    <a:lnTo>
                      <a:pt x="307" y="1510"/>
                    </a:lnTo>
                    <a:lnTo>
                      <a:pt x="280" y="1597"/>
                    </a:lnTo>
                    <a:lnTo>
                      <a:pt x="178" y="1594"/>
                    </a:lnTo>
                    <a:lnTo>
                      <a:pt x="157" y="1537"/>
                    </a:lnTo>
                    <a:lnTo>
                      <a:pt x="151" y="1495"/>
                    </a:lnTo>
                    <a:lnTo>
                      <a:pt x="124" y="1474"/>
                    </a:lnTo>
                    <a:lnTo>
                      <a:pt x="91" y="1489"/>
                    </a:lnTo>
                    <a:lnTo>
                      <a:pt x="79" y="1561"/>
                    </a:lnTo>
                    <a:lnTo>
                      <a:pt x="49" y="1573"/>
                    </a:lnTo>
                    <a:lnTo>
                      <a:pt x="7" y="1567"/>
                    </a:lnTo>
                    <a:close/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99" name="Freeform 31"/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gray">
              <a:xfrm>
                <a:off x="1435977" y="2736850"/>
                <a:ext cx="1106517" cy="1766888"/>
              </a:xfrm>
              <a:custGeom>
                <a:avLst/>
                <a:gdLst>
                  <a:gd name="T0" fmla="*/ 66 w 637"/>
                  <a:gd name="T1" fmla="*/ 0 h 1113"/>
                  <a:gd name="T2" fmla="*/ 376 w 637"/>
                  <a:gd name="T3" fmla="*/ 80 h 1113"/>
                  <a:gd name="T4" fmla="*/ 315 w 637"/>
                  <a:gd name="T5" fmla="*/ 380 h 1113"/>
                  <a:gd name="T6" fmla="*/ 683 w 637"/>
                  <a:gd name="T7" fmla="*/ 872 h 1113"/>
                  <a:gd name="T8" fmla="*/ 678 w 637"/>
                  <a:gd name="T9" fmla="*/ 920 h 1113"/>
                  <a:gd name="T10" fmla="*/ 696 w 637"/>
                  <a:gd name="T11" fmla="*/ 960 h 1113"/>
                  <a:gd name="T12" fmla="*/ 674 w 637"/>
                  <a:gd name="T13" fmla="*/ 980 h 1113"/>
                  <a:gd name="T14" fmla="*/ 657 w 637"/>
                  <a:gd name="T15" fmla="*/ 1024 h 1113"/>
                  <a:gd name="T16" fmla="*/ 635 w 637"/>
                  <a:gd name="T17" fmla="*/ 1064 h 1113"/>
                  <a:gd name="T18" fmla="*/ 657 w 637"/>
                  <a:gd name="T19" fmla="*/ 1080 h 1113"/>
                  <a:gd name="T20" fmla="*/ 635 w 637"/>
                  <a:gd name="T21" fmla="*/ 1112 h 1113"/>
                  <a:gd name="T22" fmla="*/ 425 w 637"/>
                  <a:gd name="T23" fmla="*/ 1096 h 1113"/>
                  <a:gd name="T24" fmla="*/ 411 w 637"/>
                  <a:gd name="T25" fmla="*/ 1048 h 1113"/>
                  <a:gd name="T26" fmla="*/ 390 w 637"/>
                  <a:gd name="T27" fmla="*/ 992 h 1113"/>
                  <a:gd name="T28" fmla="*/ 355 w 637"/>
                  <a:gd name="T29" fmla="*/ 960 h 1113"/>
                  <a:gd name="T30" fmla="*/ 324 w 637"/>
                  <a:gd name="T31" fmla="*/ 952 h 1113"/>
                  <a:gd name="T32" fmla="*/ 324 w 637"/>
                  <a:gd name="T33" fmla="*/ 940 h 1113"/>
                  <a:gd name="T34" fmla="*/ 293 w 637"/>
                  <a:gd name="T35" fmla="*/ 916 h 1113"/>
                  <a:gd name="T36" fmla="*/ 249 w 637"/>
                  <a:gd name="T37" fmla="*/ 904 h 1113"/>
                  <a:gd name="T38" fmla="*/ 232 w 637"/>
                  <a:gd name="T39" fmla="*/ 872 h 1113"/>
                  <a:gd name="T40" fmla="*/ 201 w 637"/>
                  <a:gd name="T41" fmla="*/ 864 h 1113"/>
                  <a:gd name="T42" fmla="*/ 158 w 637"/>
                  <a:gd name="T43" fmla="*/ 828 h 1113"/>
                  <a:gd name="T44" fmla="*/ 175 w 637"/>
                  <a:gd name="T45" fmla="*/ 780 h 1113"/>
                  <a:gd name="T46" fmla="*/ 105 w 637"/>
                  <a:gd name="T47" fmla="*/ 600 h 1113"/>
                  <a:gd name="T48" fmla="*/ 118 w 637"/>
                  <a:gd name="T49" fmla="*/ 600 h 1113"/>
                  <a:gd name="T50" fmla="*/ 118 w 637"/>
                  <a:gd name="T51" fmla="*/ 576 h 1113"/>
                  <a:gd name="T52" fmla="*/ 96 w 637"/>
                  <a:gd name="T53" fmla="*/ 568 h 1113"/>
                  <a:gd name="T54" fmla="*/ 70 w 637"/>
                  <a:gd name="T55" fmla="*/ 480 h 1113"/>
                  <a:gd name="T56" fmla="*/ 83 w 637"/>
                  <a:gd name="T57" fmla="*/ 476 h 1113"/>
                  <a:gd name="T58" fmla="*/ 105 w 637"/>
                  <a:gd name="T59" fmla="*/ 492 h 1113"/>
                  <a:gd name="T60" fmla="*/ 92 w 637"/>
                  <a:gd name="T61" fmla="*/ 460 h 1113"/>
                  <a:gd name="T62" fmla="*/ 144 w 637"/>
                  <a:gd name="T63" fmla="*/ 448 h 1113"/>
                  <a:gd name="T64" fmla="*/ 127 w 637"/>
                  <a:gd name="T65" fmla="*/ 432 h 1113"/>
                  <a:gd name="T66" fmla="*/ 96 w 637"/>
                  <a:gd name="T67" fmla="*/ 436 h 1113"/>
                  <a:gd name="T68" fmla="*/ 79 w 637"/>
                  <a:gd name="T69" fmla="*/ 452 h 1113"/>
                  <a:gd name="T70" fmla="*/ 39 w 637"/>
                  <a:gd name="T71" fmla="*/ 400 h 1113"/>
                  <a:gd name="T72" fmla="*/ 22 w 637"/>
                  <a:gd name="T73" fmla="*/ 360 h 1113"/>
                  <a:gd name="T74" fmla="*/ 18 w 637"/>
                  <a:gd name="T75" fmla="*/ 320 h 1113"/>
                  <a:gd name="T76" fmla="*/ 18 w 637"/>
                  <a:gd name="T77" fmla="*/ 244 h 1113"/>
                  <a:gd name="T78" fmla="*/ 9 w 637"/>
                  <a:gd name="T79" fmla="*/ 224 h 1113"/>
                  <a:gd name="T80" fmla="*/ 0 w 637"/>
                  <a:gd name="T81" fmla="*/ 180 h 1113"/>
                  <a:gd name="T82" fmla="*/ 9 w 637"/>
                  <a:gd name="T83" fmla="*/ 148 h 1113"/>
                  <a:gd name="T84" fmla="*/ 18 w 637"/>
                  <a:gd name="T85" fmla="*/ 116 h 1113"/>
                  <a:gd name="T86" fmla="*/ 35 w 637"/>
                  <a:gd name="T87" fmla="*/ 96 h 1113"/>
                  <a:gd name="T88" fmla="*/ 31 w 637"/>
                  <a:gd name="T89" fmla="*/ 68 h 1113"/>
                  <a:gd name="T90" fmla="*/ 57 w 637"/>
                  <a:gd name="T91" fmla="*/ 52 h 1113"/>
                  <a:gd name="T92" fmla="*/ 66 w 637"/>
                  <a:gd name="T93" fmla="*/ 0 h 1113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637"/>
                  <a:gd name="T142" fmla="*/ 0 h 1113"/>
                  <a:gd name="T143" fmla="*/ 637 w 637"/>
                  <a:gd name="T144" fmla="*/ 1113 h 1113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637" h="1113">
                    <a:moveTo>
                      <a:pt x="60" y="0"/>
                    </a:moveTo>
                    <a:lnTo>
                      <a:pt x="344" y="80"/>
                    </a:lnTo>
                    <a:lnTo>
                      <a:pt x="288" y="380"/>
                    </a:lnTo>
                    <a:lnTo>
                      <a:pt x="624" y="872"/>
                    </a:lnTo>
                    <a:lnTo>
                      <a:pt x="620" y="920"/>
                    </a:lnTo>
                    <a:lnTo>
                      <a:pt x="636" y="960"/>
                    </a:lnTo>
                    <a:lnTo>
                      <a:pt x="616" y="980"/>
                    </a:lnTo>
                    <a:lnTo>
                      <a:pt x="600" y="1024"/>
                    </a:lnTo>
                    <a:lnTo>
                      <a:pt x="580" y="1064"/>
                    </a:lnTo>
                    <a:lnTo>
                      <a:pt x="600" y="1080"/>
                    </a:lnTo>
                    <a:lnTo>
                      <a:pt x="580" y="1112"/>
                    </a:lnTo>
                    <a:lnTo>
                      <a:pt x="388" y="1096"/>
                    </a:lnTo>
                    <a:lnTo>
                      <a:pt x="376" y="1048"/>
                    </a:lnTo>
                    <a:lnTo>
                      <a:pt x="356" y="992"/>
                    </a:lnTo>
                    <a:lnTo>
                      <a:pt x="324" y="960"/>
                    </a:lnTo>
                    <a:lnTo>
                      <a:pt x="296" y="952"/>
                    </a:lnTo>
                    <a:lnTo>
                      <a:pt x="296" y="940"/>
                    </a:lnTo>
                    <a:lnTo>
                      <a:pt x="268" y="916"/>
                    </a:lnTo>
                    <a:lnTo>
                      <a:pt x="228" y="904"/>
                    </a:lnTo>
                    <a:lnTo>
                      <a:pt x="212" y="872"/>
                    </a:lnTo>
                    <a:lnTo>
                      <a:pt x="184" y="864"/>
                    </a:lnTo>
                    <a:lnTo>
                      <a:pt x="144" y="828"/>
                    </a:lnTo>
                    <a:lnTo>
                      <a:pt x="160" y="780"/>
                    </a:lnTo>
                    <a:lnTo>
                      <a:pt x="96" y="600"/>
                    </a:lnTo>
                    <a:lnTo>
                      <a:pt x="108" y="600"/>
                    </a:lnTo>
                    <a:lnTo>
                      <a:pt x="108" y="576"/>
                    </a:lnTo>
                    <a:lnTo>
                      <a:pt x="88" y="568"/>
                    </a:lnTo>
                    <a:lnTo>
                      <a:pt x="64" y="480"/>
                    </a:lnTo>
                    <a:lnTo>
                      <a:pt x="76" y="476"/>
                    </a:lnTo>
                    <a:lnTo>
                      <a:pt x="96" y="492"/>
                    </a:lnTo>
                    <a:lnTo>
                      <a:pt x="84" y="460"/>
                    </a:lnTo>
                    <a:lnTo>
                      <a:pt x="132" y="448"/>
                    </a:lnTo>
                    <a:lnTo>
                      <a:pt x="116" y="432"/>
                    </a:lnTo>
                    <a:lnTo>
                      <a:pt x="88" y="436"/>
                    </a:lnTo>
                    <a:lnTo>
                      <a:pt x="72" y="452"/>
                    </a:lnTo>
                    <a:lnTo>
                      <a:pt x="36" y="400"/>
                    </a:lnTo>
                    <a:lnTo>
                      <a:pt x="20" y="360"/>
                    </a:lnTo>
                    <a:lnTo>
                      <a:pt x="16" y="320"/>
                    </a:lnTo>
                    <a:lnTo>
                      <a:pt x="16" y="244"/>
                    </a:lnTo>
                    <a:lnTo>
                      <a:pt x="8" y="224"/>
                    </a:lnTo>
                    <a:lnTo>
                      <a:pt x="0" y="180"/>
                    </a:lnTo>
                    <a:lnTo>
                      <a:pt x="8" y="148"/>
                    </a:lnTo>
                    <a:lnTo>
                      <a:pt x="16" y="116"/>
                    </a:lnTo>
                    <a:lnTo>
                      <a:pt x="32" y="96"/>
                    </a:lnTo>
                    <a:lnTo>
                      <a:pt x="28" y="68"/>
                    </a:lnTo>
                    <a:lnTo>
                      <a:pt x="52" y="52"/>
                    </a:lnTo>
                    <a:lnTo>
                      <a:pt x="60" y="0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00" name="Freeform 32"/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gray">
              <a:xfrm>
                <a:off x="1936053" y="2863850"/>
                <a:ext cx="841397" cy="1258888"/>
              </a:xfrm>
              <a:custGeom>
                <a:avLst/>
                <a:gdLst>
                  <a:gd name="T0" fmla="*/ 61 w 485"/>
                  <a:gd name="T1" fmla="*/ 0 h 793"/>
                  <a:gd name="T2" fmla="*/ 0 w 485"/>
                  <a:gd name="T3" fmla="*/ 300 h 793"/>
                  <a:gd name="T4" fmla="*/ 367 w 485"/>
                  <a:gd name="T5" fmla="*/ 792 h 793"/>
                  <a:gd name="T6" fmla="*/ 367 w 485"/>
                  <a:gd name="T7" fmla="*/ 692 h 793"/>
                  <a:gd name="T8" fmla="*/ 380 w 485"/>
                  <a:gd name="T9" fmla="*/ 672 h 793"/>
                  <a:gd name="T10" fmla="*/ 398 w 485"/>
                  <a:gd name="T11" fmla="*/ 672 h 793"/>
                  <a:gd name="T12" fmla="*/ 407 w 485"/>
                  <a:gd name="T13" fmla="*/ 692 h 793"/>
                  <a:gd name="T14" fmla="*/ 433 w 485"/>
                  <a:gd name="T15" fmla="*/ 680 h 793"/>
                  <a:gd name="T16" fmla="*/ 441 w 485"/>
                  <a:gd name="T17" fmla="*/ 604 h 793"/>
                  <a:gd name="T18" fmla="*/ 529 w 485"/>
                  <a:gd name="T19" fmla="*/ 88 h 793"/>
                  <a:gd name="T20" fmla="*/ 293 w 485"/>
                  <a:gd name="T21" fmla="*/ 48 h 793"/>
                  <a:gd name="T22" fmla="*/ 61 w 485"/>
                  <a:gd name="T23" fmla="*/ 0 h 793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485"/>
                  <a:gd name="T37" fmla="*/ 0 h 793"/>
                  <a:gd name="T38" fmla="*/ 485 w 485"/>
                  <a:gd name="T39" fmla="*/ 793 h 793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485" h="793">
                    <a:moveTo>
                      <a:pt x="56" y="0"/>
                    </a:moveTo>
                    <a:lnTo>
                      <a:pt x="0" y="300"/>
                    </a:lnTo>
                    <a:lnTo>
                      <a:pt x="336" y="792"/>
                    </a:lnTo>
                    <a:lnTo>
                      <a:pt x="336" y="692"/>
                    </a:lnTo>
                    <a:lnTo>
                      <a:pt x="348" y="672"/>
                    </a:lnTo>
                    <a:lnTo>
                      <a:pt x="364" y="672"/>
                    </a:lnTo>
                    <a:lnTo>
                      <a:pt x="372" y="692"/>
                    </a:lnTo>
                    <a:lnTo>
                      <a:pt x="396" y="680"/>
                    </a:lnTo>
                    <a:lnTo>
                      <a:pt x="404" y="604"/>
                    </a:lnTo>
                    <a:lnTo>
                      <a:pt x="484" y="88"/>
                    </a:lnTo>
                    <a:lnTo>
                      <a:pt x="268" y="48"/>
                    </a:lnTo>
                    <a:lnTo>
                      <a:pt x="56" y="0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01" name="Freeform 33"/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gray">
              <a:xfrm>
                <a:off x="2637746" y="3003550"/>
                <a:ext cx="736619" cy="884238"/>
              </a:xfrm>
              <a:custGeom>
                <a:avLst/>
                <a:gdLst>
                  <a:gd name="T0" fmla="*/ 87 w 425"/>
                  <a:gd name="T1" fmla="*/ 0 h 557"/>
                  <a:gd name="T2" fmla="*/ 0 w 425"/>
                  <a:gd name="T3" fmla="*/ 516 h 557"/>
                  <a:gd name="T4" fmla="*/ 428 w 425"/>
                  <a:gd name="T5" fmla="*/ 556 h 557"/>
                  <a:gd name="T6" fmla="*/ 463 w 425"/>
                  <a:gd name="T7" fmla="*/ 144 h 557"/>
                  <a:gd name="T8" fmla="*/ 310 w 425"/>
                  <a:gd name="T9" fmla="*/ 132 h 557"/>
                  <a:gd name="T10" fmla="*/ 319 w 425"/>
                  <a:gd name="T11" fmla="*/ 40 h 557"/>
                  <a:gd name="T12" fmla="*/ 87 w 425"/>
                  <a:gd name="T13" fmla="*/ 0 h 55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25"/>
                  <a:gd name="T22" fmla="*/ 0 h 557"/>
                  <a:gd name="T23" fmla="*/ 425 w 425"/>
                  <a:gd name="T24" fmla="*/ 557 h 55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25" h="557">
                    <a:moveTo>
                      <a:pt x="80" y="0"/>
                    </a:moveTo>
                    <a:lnTo>
                      <a:pt x="0" y="516"/>
                    </a:lnTo>
                    <a:lnTo>
                      <a:pt x="392" y="556"/>
                    </a:lnTo>
                    <a:lnTo>
                      <a:pt x="424" y="144"/>
                    </a:lnTo>
                    <a:lnTo>
                      <a:pt x="284" y="132"/>
                    </a:lnTo>
                    <a:lnTo>
                      <a:pt x="292" y="40"/>
                    </a:lnTo>
                    <a:lnTo>
                      <a:pt x="80" y="0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02" name="Freeform 34"/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gray">
              <a:xfrm>
                <a:off x="3317214" y="3232150"/>
                <a:ext cx="954113" cy="706438"/>
              </a:xfrm>
              <a:custGeom>
                <a:avLst/>
                <a:gdLst>
                  <a:gd name="T0" fmla="*/ 0 w 549"/>
                  <a:gd name="T1" fmla="*/ 412 h 445"/>
                  <a:gd name="T2" fmla="*/ 512 w 549"/>
                  <a:gd name="T3" fmla="*/ 444 h 445"/>
                  <a:gd name="T4" fmla="*/ 600 w 549"/>
                  <a:gd name="T5" fmla="*/ 440 h 445"/>
                  <a:gd name="T6" fmla="*/ 600 w 549"/>
                  <a:gd name="T7" fmla="*/ 28 h 445"/>
                  <a:gd name="T8" fmla="*/ 451 w 549"/>
                  <a:gd name="T9" fmla="*/ 28 h 445"/>
                  <a:gd name="T10" fmla="*/ 35 w 549"/>
                  <a:gd name="T11" fmla="*/ 0 h 445"/>
                  <a:gd name="T12" fmla="*/ 0 w 549"/>
                  <a:gd name="T13" fmla="*/ 412 h 44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49"/>
                  <a:gd name="T22" fmla="*/ 0 h 445"/>
                  <a:gd name="T23" fmla="*/ 549 w 549"/>
                  <a:gd name="T24" fmla="*/ 445 h 44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49" h="445">
                    <a:moveTo>
                      <a:pt x="0" y="412"/>
                    </a:moveTo>
                    <a:lnTo>
                      <a:pt x="468" y="444"/>
                    </a:lnTo>
                    <a:lnTo>
                      <a:pt x="548" y="440"/>
                    </a:lnTo>
                    <a:lnTo>
                      <a:pt x="548" y="28"/>
                    </a:lnTo>
                    <a:lnTo>
                      <a:pt x="412" y="28"/>
                    </a:lnTo>
                    <a:lnTo>
                      <a:pt x="32" y="0"/>
                    </a:lnTo>
                    <a:lnTo>
                      <a:pt x="0" y="412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03" name="Freeform 35"/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gray">
              <a:xfrm>
                <a:off x="4130035" y="3898900"/>
                <a:ext cx="1176368" cy="534988"/>
              </a:xfrm>
              <a:custGeom>
                <a:avLst/>
                <a:gdLst>
                  <a:gd name="T0" fmla="*/ 87 w 678"/>
                  <a:gd name="T1" fmla="*/ 20 h 337"/>
                  <a:gd name="T2" fmla="*/ 0 w 678"/>
                  <a:gd name="T3" fmla="*/ 24 h 337"/>
                  <a:gd name="T4" fmla="*/ 0 w 678"/>
                  <a:gd name="T5" fmla="*/ 64 h 337"/>
                  <a:gd name="T6" fmla="*/ 262 w 678"/>
                  <a:gd name="T7" fmla="*/ 72 h 337"/>
                  <a:gd name="T8" fmla="*/ 267 w 678"/>
                  <a:gd name="T9" fmla="*/ 276 h 337"/>
                  <a:gd name="T10" fmla="*/ 284 w 678"/>
                  <a:gd name="T11" fmla="*/ 288 h 337"/>
                  <a:gd name="T12" fmla="*/ 306 w 678"/>
                  <a:gd name="T13" fmla="*/ 280 h 337"/>
                  <a:gd name="T14" fmla="*/ 332 w 678"/>
                  <a:gd name="T15" fmla="*/ 296 h 337"/>
                  <a:gd name="T16" fmla="*/ 411 w 678"/>
                  <a:gd name="T17" fmla="*/ 312 h 337"/>
                  <a:gd name="T18" fmla="*/ 442 w 678"/>
                  <a:gd name="T19" fmla="*/ 304 h 337"/>
                  <a:gd name="T20" fmla="*/ 481 w 678"/>
                  <a:gd name="T21" fmla="*/ 328 h 337"/>
                  <a:gd name="T22" fmla="*/ 517 w 678"/>
                  <a:gd name="T23" fmla="*/ 320 h 337"/>
                  <a:gd name="T24" fmla="*/ 543 w 678"/>
                  <a:gd name="T25" fmla="*/ 332 h 337"/>
                  <a:gd name="T26" fmla="*/ 574 w 678"/>
                  <a:gd name="T27" fmla="*/ 320 h 337"/>
                  <a:gd name="T28" fmla="*/ 591 w 678"/>
                  <a:gd name="T29" fmla="*/ 336 h 337"/>
                  <a:gd name="T30" fmla="*/ 622 w 678"/>
                  <a:gd name="T31" fmla="*/ 320 h 337"/>
                  <a:gd name="T32" fmla="*/ 705 w 678"/>
                  <a:gd name="T33" fmla="*/ 316 h 337"/>
                  <a:gd name="T34" fmla="*/ 718 w 678"/>
                  <a:gd name="T35" fmla="*/ 332 h 337"/>
                  <a:gd name="T36" fmla="*/ 740 w 678"/>
                  <a:gd name="T37" fmla="*/ 332 h 337"/>
                  <a:gd name="T38" fmla="*/ 740 w 678"/>
                  <a:gd name="T39" fmla="*/ 160 h 337"/>
                  <a:gd name="T40" fmla="*/ 727 w 678"/>
                  <a:gd name="T41" fmla="*/ 48 h 337"/>
                  <a:gd name="T42" fmla="*/ 718 w 678"/>
                  <a:gd name="T43" fmla="*/ 0 h 337"/>
                  <a:gd name="T44" fmla="*/ 508 w 678"/>
                  <a:gd name="T45" fmla="*/ 20 h 337"/>
                  <a:gd name="T46" fmla="*/ 87 w 678"/>
                  <a:gd name="T47" fmla="*/ 20 h 337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678"/>
                  <a:gd name="T73" fmla="*/ 0 h 337"/>
                  <a:gd name="T74" fmla="*/ 678 w 678"/>
                  <a:gd name="T75" fmla="*/ 337 h 337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678" h="337">
                    <a:moveTo>
                      <a:pt x="80" y="20"/>
                    </a:moveTo>
                    <a:lnTo>
                      <a:pt x="0" y="24"/>
                    </a:lnTo>
                    <a:lnTo>
                      <a:pt x="0" y="64"/>
                    </a:lnTo>
                    <a:lnTo>
                      <a:pt x="240" y="72"/>
                    </a:lnTo>
                    <a:lnTo>
                      <a:pt x="244" y="276"/>
                    </a:lnTo>
                    <a:lnTo>
                      <a:pt x="260" y="288"/>
                    </a:lnTo>
                    <a:lnTo>
                      <a:pt x="280" y="280"/>
                    </a:lnTo>
                    <a:lnTo>
                      <a:pt x="304" y="296"/>
                    </a:lnTo>
                    <a:lnTo>
                      <a:pt x="376" y="312"/>
                    </a:lnTo>
                    <a:lnTo>
                      <a:pt x="404" y="304"/>
                    </a:lnTo>
                    <a:lnTo>
                      <a:pt x="440" y="328"/>
                    </a:lnTo>
                    <a:lnTo>
                      <a:pt x="473" y="320"/>
                    </a:lnTo>
                    <a:lnTo>
                      <a:pt x="497" y="332"/>
                    </a:lnTo>
                    <a:lnTo>
                      <a:pt x="525" y="320"/>
                    </a:lnTo>
                    <a:lnTo>
                      <a:pt x="541" y="336"/>
                    </a:lnTo>
                    <a:lnTo>
                      <a:pt x="569" y="320"/>
                    </a:lnTo>
                    <a:lnTo>
                      <a:pt x="645" y="316"/>
                    </a:lnTo>
                    <a:lnTo>
                      <a:pt x="657" y="332"/>
                    </a:lnTo>
                    <a:lnTo>
                      <a:pt x="677" y="332"/>
                    </a:lnTo>
                    <a:lnTo>
                      <a:pt x="677" y="160"/>
                    </a:lnTo>
                    <a:lnTo>
                      <a:pt x="665" y="48"/>
                    </a:lnTo>
                    <a:lnTo>
                      <a:pt x="657" y="0"/>
                    </a:lnTo>
                    <a:lnTo>
                      <a:pt x="465" y="20"/>
                    </a:lnTo>
                    <a:lnTo>
                      <a:pt x="80" y="20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04" name="Freeform 36"/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gray">
              <a:xfrm>
                <a:off x="1783649" y="1668463"/>
                <a:ext cx="882673" cy="649288"/>
              </a:xfrm>
              <a:custGeom>
                <a:avLst/>
                <a:gdLst>
                  <a:gd name="T0" fmla="*/ 170 w 509"/>
                  <a:gd name="T1" fmla="*/ 0 h 409"/>
                  <a:gd name="T2" fmla="*/ 363 w 509"/>
                  <a:gd name="T3" fmla="*/ 48 h 409"/>
                  <a:gd name="T4" fmla="*/ 555 w 509"/>
                  <a:gd name="T5" fmla="*/ 96 h 409"/>
                  <a:gd name="T6" fmla="*/ 494 w 509"/>
                  <a:gd name="T7" fmla="*/ 348 h 409"/>
                  <a:gd name="T8" fmla="*/ 498 w 509"/>
                  <a:gd name="T9" fmla="*/ 372 h 409"/>
                  <a:gd name="T10" fmla="*/ 489 w 509"/>
                  <a:gd name="T11" fmla="*/ 408 h 409"/>
                  <a:gd name="T12" fmla="*/ 371 w 509"/>
                  <a:gd name="T13" fmla="*/ 372 h 409"/>
                  <a:gd name="T14" fmla="*/ 358 w 509"/>
                  <a:gd name="T15" fmla="*/ 376 h 409"/>
                  <a:gd name="T16" fmla="*/ 175 w 509"/>
                  <a:gd name="T17" fmla="*/ 360 h 409"/>
                  <a:gd name="T18" fmla="*/ 157 w 509"/>
                  <a:gd name="T19" fmla="*/ 348 h 409"/>
                  <a:gd name="T20" fmla="*/ 83 w 509"/>
                  <a:gd name="T21" fmla="*/ 340 h 409"/>
                  <a:gd name="T22" fmla="*/ 70 w 509"/>
                  <a:gd name="T23" fmla="*/ 316 h 409"/>
                  <a:gd name="T24" fmla="*/ 61 w 509"/>
                  <a:gd name="T25" fmla="*/ 284 h 409"/>
                  <a:gd name="T26" fmla="*/ 17 w 509"/>
                  <a:gd name="T27" fmla="*/ 264 h 409"/>
                  <a:gd name="T28" fmla="*/ 0 w 509"/>
                  <a:gd name="T29" fmla="*/ 244 h 409"/>
                  <a:gd name="T30" fmla="*/ 0 w 509"/>
                  <a:gd name="T31" fmla="*/ 208 h 409"/>
                  <a:gd name="T32" fmla="*/ 13 w 509"/>
                  <a:gd name="T33" fmla="*/ 196 h 409"/>
                  <a:gd name="T34" fmla="*/ 4 w 509"/>
                  <a:gd name="T35" fmla="*/ 176 h 409"/>
                  <a:gd name="T36" fmla="*/ 26 w 509"/>
                  <a:gd name="T37" fmla="*/ 176 h 409"/>
                  <a:gd name="T38" fmla="*/ 9 w 509"/>
                  <a:gd name="T39" fmla="*/ 152 h 409"/>
                  <a:gd name="T40" fmla="*/ 4 w 509"/>
                  <a:gd name="T41" fmla="*/ 68 h 409"/>
                  <a:gd name="T42" fmla="*/ 17 w 509"/>
                  <a:gd name="T43" fmla="*/ 28 h 409"/>
                  <a:gd name="T44" fmla="*/ 79 w 509"/>
                  <a:gd name="T45" fmla="*/ 68 h 409"/>
                  <a:gd name="T46" fmla="*/ 122 w 509"/>
                  <a:gd name="T47" fmla="*/ 84 h 409"/>
                  <a:gd name="T48" fmla="*/ 140 w 509"/>
                  <a:gd name="T49" fmla="*/ 104 h 409"/>
                  <a:gd name="T50" fmla="*/ 127 w 509"/>
                  <a:gd name="T51" fmla="*/ 124 h 409"/>
                  <a:gd name="T52" fmla="*/ 105 w 509"/>
                  <a:gd name="T53" fmla="*/ 140 h 409"/>
                  <a:gd name="T54" fmla="*/ 140 w 509"/>
                  <a:gd name="T55" fmla="*/ 140 h 409"/>
                  <a:gd name="T56" fmla="*/ 131 w 509"/>
                  <a:gd name="T57" fmla="*/ 164 h 409"/>
                  <a:gd name="T58" fmla="*/ 96 w 509"/>
                  <a:gd name="T59" fmla="*/ 168 h 409"/>
                  <a:gd name="T60" fmla="*/ 96 w 509"/>
                  <a:gd name="T61" fmla="*/ 184 h 409"/>
                  <a:gd name="T62" fmla="*/ 140 w 509"/>
                  <a:gd name="T63" fmla="*/ 168 h 409"/>
                  <a:gd name="T64" fmla="*/ 157 w 509"/>
                  <a:gd name="T65" fmla="*/ 136 h 409"/>
                  <a:gd name="T66" fmla="*/ 179 w 509"/>
                  <a:gd name="T67" fmla="*/ 100 h 409"/>
                  <a:gd name="T68" fmla="*/ 188 w 509"/>
                  <a:gd name="T69" fmla="*/ 48 h 409"/>
                  <a:gd name="T70" fmla="*/ 170 w 509"/>
                  <a:gd name="T71" fmla="*/ 0 h 409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509"/>
                  <a:gd name="T109" fmla="*/ 0 h 409"/>
                  <a:gd name="T110" fmla="*/ 509 w 509"/>
                  <a:gd name="T111" fmla="*/ 409 h 409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509" h="409">
                    <a:moveTo>
                      <a:pt x="156" y="0"/>
                    </a:moveTo>
                    <a:lnTo>
                      <a:pt x="332" y="48"/>
                    </a:lnTo>
                    <a:lnTo>
                      <a:pt x="508" y="96"/>
                    </a:lnTo>
                    <a:lnTo>
                      <a:pt x="452" y="348"/>
                    </a:lnTo>
                    <a:lnTo>
                      <a:pt x="456" y="372"/>
                    </a:lnTo>
                    <a:lnTo>
                      <a:pt x="448" y="408"/>
                    </a:lnTo>
                    <a:lnTo>
                      <a:pt x="340" y="372"/>
                    </a:lnTo>
                    <a:lnTo>
                      <a:pt x="328" y="376"/>
                    </a:lnTo>
                    <a:lnTo>
                      <a:pt x="160" y="360"/>
                    </a:lnTo>
                    <a:lnTo>
                      <a:pt x="144" y="348"/>
                    </a:lnTo>
                    <a:lnTo>
                      <a:pt x="76" y="340"/>
                    </a:lnTo>
                    <a:lnTo>
                      <a:pt x="64" y="316"/>
                    </a:lnTo>
                    <a:lnTo>
                      <a:pt x="56" y="284"/>
                    </a:lnTo>
                    <a:lnTo>
                      <a:pt x="16" y="264"/>
                    </a:lnTo>
                    <a:lnTo>
                      <a:pt x="0" y="244"/>
                    </a:lnTo>
                    <a:lnTo>
                      <a:pt x="0" y="208"/>
                    </a:lnTo>
                    <a:lnTo>
                      <a:pt x="12" y="196"/>
                    </a:lnTo>
                    <a:lnTo>
                      <a:pt x="4" y="176"/>
                    </a:lnTo>
                    <a:lnTo>
                      <a:pt x="24" y="176"/>
                    </a:lnTo>
                    <a:lnTo>
                      <a:pt x="8" y="152"/>
                    </a:lnTo>
                    <a:lnTo>
                      <a:pt x="4" y="68"/>
                    </a:lnTo>
                    <a:lnTo>
                      <a:pt x="16" y="28"/>
                    </a:lnTo>
                    <a:lnTo>
                      <a:pt x="72" y="68"/>
                    </a:lnTo>
                    <a:lnTo>
                      <a:pt x="112" y="84"/>
                    </a:lnTo>
                    <a:lnTo>
                      <a:pt x="128" y="104"/>
                    </a:lnTo>
                    <a:lnTo>
                      <a:pt x="116" y="124"/>
                    </a:lnTo>
                    <a:lnTo>
                      <a:pt x="96" y="140"/>
                    </a:lnTo>
                    <a:lnTo>
                      <a:pt x="128" y="140"/>
                    </a:lnTo>
                    <a:lnTo>
                      <a:pt x="120" y="164"/>
                    </a:lnTo>
                    <a:lnTo>
                      <a:pt x="88" y="168"/>
                    </a:lnTo>
                    <a:lnTo>
                      <a:pt x="88" y="184"/>
                    </a:lnTo>
                    <a:lnTo>
                      <a:pt x="128" y="168"/>
                    </a:lnTo>
                    <a:lnTo>
                      <a:pt x="144" y="136"/>
                    </a:lnTo>
                    <a:lnTo>
                      <a:pt x="164" y="100"/>
                    </a:lnTo>
                    <a:lnTo>
                      <a:pt x="172" y="48"/>
                    </a:lnTo>
                    <a:lnTo>
                      <a:pt x="156" y="0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05" name="Freeform 37"/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gray">
              <a:xfrm>
                <a:off x="1540755" y="2074863"/>
                <a:ext cx="1035077" cy="866775"/>
              </a:xfrm>
              <a:custGeom>
                <a:avLst/>
                <a:gdLst>
                  <a:gd name="T0" fmla="*/ 642 w 597"/>
                  <a:gd name="T1" fmla="*/ 152 h 546"/>
                  <a:gd name="T2" fmla="*/ 651 w 597"/>
                  <a:gd name="T3" fmla="*/ 180 h 546"/>
                  <a:gd name="T4" fmla="*/ 642 w 597"/>
                  <a:gd name="T5" fmla="*/ 204 h 546"/>
                  <a:gd name="T6" fmla="*/ 616 w 597"/>
                  <a:gd name="T7" fmla="*/ 248 h 546"/>
                  <a:gd name="T8" fmla="*/ 585 w 597"/>
                  <a:gd name="T9" fmla="*/ 292 h 546"/>
                  <a:gd name="T10" fmla="*/ 585 w 597"/>
                  <a:gd name="T11" fmla="*/ 316 h 546"/>
                  <a:gd name="T12" fmla="*/ 607 w 597"/>
                  <a:gd name="T13" fmla="*/ 336 h 546"/>
                  <a:gd name="T14" fmla="*/ 568 w 597"/>
                  <a:gd name="T15" fmla="*/ 413 h 546"/>
                  <a:gd name="T16" fmla="*/ 542 w 597"/>
                  <a:gd name="T17" fmla="*/ 545 h 546"/>
                  <a:gd name="T18" fmla="*/ 310 w 597"/>
                  <a:gd name="T19" fmla="*/ 497 h 546"/>
                  <a:gd name="T20" fmla="*/ 0 w 597"/>
                  <a:gd name="T21" fmla="*/ 417 h 546"/>
                  <a:gd name="T22" fmla="*/ 0 w 597"/>
                  <a:gd name="T23" fmla="*/ 312 h 546"/>
                  <a:gd name="T24" fmla="*/ 26 w 597"/>
                  <a:gd name="T25" fmla="*/ 268 h 546"/>
                  <a:gd name="T26" fmla="*/ 66 w 597"/>
                  <a:gd name="T27" fmla="*/ 224 h 546"/>
                  <a:gd name="T28" fmla="*/ 70 w 597"/>
                  <a:gd name="T29" fmla="*/ 192 h 546"/>
                  <a:gd name="T30" fmla="*/ 149 w 597"/>
                  <a:gd name="T31" fmla="*/ 0 h 546"/>
                  <a:gd name="T32" fmla="*/ 170 w 597"/>
                  <a:gd name="T33" fmla="*/ 8 h 546"/>
                  <a:gd name="T34" fmla="*/ 214 w 597"/>
                  <a:gd name="T35" fmla="*/ 28 h 546"/>
                  <a:gd name="T36" fmla="*/ 223 w 597"/>
                  <a:gd name="T37" fmla="*/ 60 h 546"/>
                  <a:gd name="T38" fmla="*/ 236 w 597"/>
                  <a:gd name="T39" fmla="*/ 84 h 546"/>
                  <a:gd name="T40" fmla="*/ 310 w 597"/>
                  <a:gd name="T41" fmla="*/ 92 h 546"/>
                  <a:gd name="T42" fmla="*/ 328 w 597"/>
                  <a:gd name="T43" fmla="*/ 104 h 546"/>
                  <a:gd name="T44" fmla="*/ 511 w 597"/>
                  <a:gd name="T45" fmla="*/ 120 h 546"/>
                  <a:gd name="T46" fmla="*/ 524 w 597"/>
                  <a:gd name="T47" fmla="*/ 116 h 546"/>
                  <a:gd name="T48" fmla="*/ 642 w 597"/>
                  <a:gd name="T49" fmla="*/ 152 h 54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597"/>
                  <a:gd name="T76" fmla="*/ 0 h 546"/>
                  <a:gd name="T77" fmla="*/ 597 w 597"/>
                  <a:gd name="T78" fmla="*/ 546 h 54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597" h="546">
                    <a:moveTo>
                      <a:pt x="588" y="152"/>
                    </a:moveTo>
                    <a:lnTo>
                      <a:pt x="596" y="180"/>
                    </a:lnTo>
                    <a:lnTo>
                      <a:pt x="588" y="204"/>
                    </a:lnTo>
                    <a:lnTo>
                      <a:pt x="564" y="248"/>
                    </a:lnTo>
                    <a:lnTo>
                      <a:pt x="536" y="292"/>
                    </a:lnTo>
                    <a:lnTo>
                      <a:pt x="536" y="316"/>
                    </a:lnTo>
                    <a:lnTo>
                      <a:pt x="556" y="336"/>
                    </a:lnTo>
                    <a:lnTo>
                      <a:pt x="520" y="413"/>
                    </a:lnTo>
                    <a:lnTo>
                      <a:pt x="496" y="545"/>
                    </a:lnTo>
                    <a:lnTo>
                      <a:pt x="284" y="497"/>
                    </a:lnTo>
                    <a:lnTo>
                      <a:pt x="0" y="417"/>
                    </a:lnTo>
                    <a:lnTo>
                      <a:pt x="0" y="312"/>
                    </a:lnTo>
                    <a:lnTo>
                      <a:pt x="24" y="268"/>
                    </a:lnTo>
                    <a:lnTo>
                      <a:pt x="60" y="224"/>
                    </a:lnTo>
                    <a:lnTo>
                      <a:pt x="64" y="192"/>
                    </a:lnTo>
                    <a:lnTo>
                      <a:pt x="136" y="0"/>
                    </a:lnTo>
                    <a:lnTo>
                      <a:pt x="156" y="8"/>
                    </a:lnTo>
                    <a:lnTo>
                      <a:pt x="196" y="28"/>
                    </a:lnTo>
                    <a:lnTo>
                      <a:pt x="204" y="60"/>
                    </a:lnTo>
                    <a:lnTo>
                      <a:pt x="216" y="84"/>
                    </a:lnTo>
                    <a:lnTo>
                      <a:pt x="284" y="92"/>
                    </a:lnTo>
                    <a:lnTo>
                      <a:pt x="300" y="104"/>
                    </a:lnTo>
                    <a:lnTo>
                      <a:pt x="468" y="120"/>
                    </a:lnTo>
                    <a:lnTo>
                      <a:pt x="480" y="116"/>
                    </a:lnTo>
                    <a:lnTo>
                      <a:pt x="588" y="152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06" name="Freeform 38"/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2401203" y="1820863"/>
                <a:ext cx="806471" cy="1247775"/>
              </a:xfrm>
              <a:custGeom>
                <a:avLst/>
                <a:gdLst>
                  <a:gd name="T0" fmla="*/ 0 w 465"/>
                  <a:gd name="T1" fmla="*/ 705 h 786"/>
                  <a:gd name="T2" fmla="*/ 236 w 465"/>
                  <a:gd name="T3" fmla="*/ 745 h 786"/>
                  <a:gd name="T4" fmla="*/ 468 w 465"/>
                  <a:gd name="T5" fmla="*/ 785 h 786"/>
                  <a:gd name="T6" fmla="*/ 507 w 465"/>
                  <a:gd name="T7" fmla="*/ 521 h 786"/>
                  <a:gd name="T8" fmla="*/ 476 w 465"/>
                  <a:gd name="T9" fmla="*/ 496 h 786"/>
                  <a:gd name="T10" fmla="*/ 441 w 465"/>
                  <a:gd name="T11" fmla="*/ 504 h 786"/>
                  <a:gd name="T12" fmla="*/ 376 w 465"/>
                  <a:gd name="T13" fmla="*/ 484 h 786"/>
                  <a:gd name="T14" fmla="*/ 345 w 465"/>
                  <a:gd name="T15" fmla="*/ 484 h 786"/>
                  <a:gd name="T16" fmla="*/ 332 w 465"/>
                  <a:gd name="T17" fmla="*/ 460 h 786"/>
                  <a:gd name="T18" fmla="*/ 315 w 465"/>
                  <a:gd name="T19" fmla="*/ 384 h 786"/>
                  <a:gd name="T20" fmla="*/ 280 w 465"/>
                  <a:gd name="T21" fmla="*/ 384 h 786"/>
                  <a:gd name="T22" fmla="*/ 275 w 465"/>
                  <a:gd name="T23" fmla="*/ 360 h 786"/>
                  <a:gd name="T24" fmla="*/ 288 w 465"/>
                  <a:gd name="T25" fmla="*/ 336 h 786"/>
                  <a:gd name="T26" fmla="*/ 288 w 465"/>
                  <a:gd name="T27" fmla="*/ 300 h 786"/>
                  <a:gd name="T28" fmla="*/ 271 w 465"/>
                  <a:gd name="T29" fmla="*/ 272 h 786"/>
                  <a:gd name="T30" fmla="*/ 258 w 465"/>
                  <a:gd name="T31" fmla="*/ 284 h 786"/>
                  <a:gd name="T32" fmla="*/ 258 w 465"/>
                  <a:gd name="T33" fmla="*/ 260 h 786"/>
                  <a:gd name="T34" fmla="*/ 227 w 465"/>
                  <a:gd name="T35" fmla="*/ 168 h 786"/>
                  <a:gd name="T36" fmla="*/ 227 w 465"/>
                  <a:gd name="T37" fmla="*/ 132 h 786"/>
                  <a:gd name="T38" fmla="*/ 214 w 465"/>
                  <a:gd name="T39" fmla="*/ 132 h 786"/>
                  <a:gd name="T40" fmla="*/ 245 w 465"/>
                  <a:gd name="T41" fmla="*/ 20 h 786"/>
                  <a:gd name="T42" fmla="*/ 166 w 465"/>
                  <a:gd name="T43" fmla="*/ 0 h 786"/>
                  <a:gd name="T44" fmla="*/ 105 w 465"/>
                  <a:gd name="T45" fmla="*/ 252 h 786"/>
                  <a:gd name="T46" fmla="*/ 109 w 465"/>
                  <a:gd name="T47" fmla="*/ 276 h 786"/>
                  <a:gd name="T48" fmla="*/ 101 w 465"/>
                  <a:gd name="T49" fmla="*/ 312 h 786"/>
                  <a:gd name="T50" fmla="*/ 109 w 465"/>
                  <a:gd name="T51" fmla="*/ 340 h 786"/>
                  <a:gd name="T52" fmla="*/ 101 w 465"/>
                  <a:gd name="T53" fmla="*/ 364 h 786"/>
                  <a:gd name="T54" fmla="*/ 74 w 465"/>
                  <a:gd name="T55" fmla="*/ 408 h 786"/>
                  <a:gd name="T56" fmla="*/ 44 w 465"/>
                  <a:gd name="T57" fmla="*/ 452 h 786"/>
                  <a:gd name="T58" fmla="*/ 44 w 465"/>
                  <a:gd name="T59" fmla="*/ 476 h 786"/>
                  <a:gd name="T60" fmla="*/ 66 w 465"/>
                  <a:gd name="T61" fmla="*/ 496 h 786"/>
                  <a:gd name="T62" fmla="*/ 26 w 465"/>
                  <a:gd name="T63" fmla="*/ 573 h 786"/>
                  <a:gd name="T64" fmla="*/ 0 w 465"/>
                  <a:gd name="T65" fmla="*/ 705 h 78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465"/>
                  <a:gd name="T100" fmla="*/ 0 h 786"/>
                  <a:gd name="T101" fmla="*/ 465 w 465"/>
                  <a:gd name="T102" fmla="*/ 786 h 78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465" h="786">
                    <a:moveTo>
                      <a:pt x="0" y="705"/>
                    </a:moveTo>
                    <a:lnTo>
                      <a:pt x="216" y="745"/>
                    </a:lnTo>
                    <a:lnTo>
                      <a:pt x="428" y="785"/>
                    </a:lnTo>
                    <a:lnTo>
                      <a:pt x="464" y="521"/>
                    </a:lnTo>
                    <a:lnTo>
                      <a:pt x="436" y="496"/>
                    </a:lnTo>
                    <a:lnTo>
                      <a:pt x="404" y="504"/>
                    </a:lnTo>
                    <a:lnTo>
                      <a:pt x="344" y="484"/>
                    </a:lnTo>
                    <a:lnTo>
                      <a:pt x="316" y="484"/>
                    </a:lnTo>
                    <a:lnTo>
                      <a:pt x="304" y="460"/>
                    </a:lnTo>
                    <a:lnTo>
                      <a:pt x="288" y="384"/>
                    </a:lnTo>
                    <a:lnTo>
                      <a:pt x="256" y="384"/>
                    </a:lnTo>
                    <a:lnTo>
                      <a:pt x="252" y="360"/>
                    </a:lnTo>
                    <a:lnTo>
                      <a:pt x="264" y="336"/>
                    </a:lnTo>
                    <a:lnTo>
                      <a:pt x="264" y="300"/>
                    </a:lnTo>
                    <a:lnTo>
                      <a:pt x="248" y="272"/>
                    </a:lnTo>
                    <a:lnTo>
                      <a:pt x="236" y="284"/>
                    </a:lnTo>
                    <a:lnTo>
                      <a:pt x="236" y="260"/>
                    </a:lnTo>
                    <a:lnTo>
                      <a:pt x="208" y="168"/>
                    </a:lnTo>
                    <a:lnTo>
                      <a:pt x="208" y="132"/>
                    </a:lnTo>
                    <a:lnTo>
                      <a:pt x="196" y="132"/>
                    </a:lnTo>
                    <a:lnTo>
                      <a:pt x="224" y="20"/>
                    </a:lnTo>
                    <a:lnTo>
                      <a:pt x="152" y="0"/>
                    </a:lnTo>
                    <a:lnTo>
                      <a:pt x="96" y="252"/>
                    </a:lnTo>
                    <a:lnTo>
                      <a:pt x="100" y="276"/>
                    </a:lnTo>
                    <a:lnTo>
                      <a:pt x="92" y="312"/>
                    </a:lnTo>
                    <a:lnTo>
                      <a:pt x="100" y="340"/>
                    </a:lnTo>
                    <a:lnTo>
                      <a:pt x="92" y="364"/>
                    </a:lnTo>
                    <a:lnTo>
                      <a:pt x="68" y="408"/>
                    </a:lnTo>
                    <a:lnTo>
                      <a:pt x="40" y="452"/>
                    </a:lnTo>
                    <a:lnTo>
                      <a:pt x="40" y="476"/>
                    </a:lnTo>
                    <a:lnTo>
                      <a:pt x="60" y="496"/>
                    </a:lnTo>
                    <a:lnTo>
                      <a:pt x="24" y="573"/>
                    </a:lnTo>
                    <a:lnTo>
                      <a:pt x="0" y="705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07" name="Freeform 39"/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2740936" y="1852613"/>
                <a:ext cx="1349410" cy="796925"/>
              </a:xfrm>
              <a:custGeom>
                <a:avLst/>
                <a:gdLst>
                  <a:gd name="T0" fmla="*/ 293 w 777"/>
                  <a:gd name="T1" fmla="*/ 501 h 502"/>
                  <a:gd name="T2" fmla="*/ 302 w 777"/>
                  <a:gd name="T3" fmla="*/ 452 h 502"/>
                  <a:gd name="T4" fmla="*/ 827 w 777"/>
                  <a:gd name="T5" fmla="*/ 493 h 502"/>
                  <a:gd name="T6" fmla="*/ 836 w 777"/>
                  <a:gd name="T7" fmla="*/ 404 h 502"/>
                  <a:gd name="T8" fmla="*/ 849 w 777"/>
                  <a:gd name="T9" fmla="*/ 72 h 502"/>
                  <a:gd name="T10" fmla="*/ 578 w 777"/>
                  <a:gd name="T11" fmla="*/ 64 h 502"/>
                  <a:gd name="T12" fmla="*/ 394 w 777"/>
                  <a:gd name="T13" fmla="*/ 44 h 502"/>
                  <a:gd name="T14" fmla="*/ 83 w 777"/>
                  <a:gd name="T15" fmla="*/ 4 h 502"/>
                  <a:gd name="T16" fmla="*/ 31 w 777"/>
                  <a:gd name="T17" fmla="*/ 0 h 502"/>
                  <a:gd name="T18" fmla="*/ 0 w 777"/>
                  <a:gd name="T19" fmla="*/ 112 h 502"/>
                  <a:gd name="T20" fmla="*/ 13 w 777"/>
                  <a:gd name="T21" fmla="*/ 112 h 502"/>
                  <a:gd name="T22" fmla="*/ 13 w 777"/>
                  <a:gd name="T23" fmla="*/ 148 h 502"/>
                  <a:gd name="T24" fmla="*/ 44 w 777"/>
                  <a:gd name="T25" fmla="*/ 240 h 502"/>
                  <a:gd name="T26" fmla="*/ 44 w 777"/>
                  <a:gd name="T27" fmla="*/ 264 h 502"/>
                  <a:gd name="T28" fmla="*/ 57 w 777"/>
                  <a:gd name="T29" fmla="*/ 252 h 502"/>
                  <a:gd name="T30" fmla="*/ 74 w 777"/>
                  <a:gd name="T31" fmla="*/ 280 h 502"/>
                  <a:gd name="T32" fmla="*/ 74 w 777"/>
                  <a:gd name="T33" fmla="*/ 316 h 502"/>
                  <a:gd name="T34" fmla="*/ 61 w 777"/>
                  <a:gd name="T35" fmla="*/ 340 h 502"/>
                  <a:gd name="T36" fmla="*/ 66 w 777"/>
                  <a:gd name="T37" fmla="*/ 364 h 502"/>
                  <a:gd name="T38" fmla="*/ 101 w 777"/>
                  <a:gd name="T39" fmla="*/ 364 h 502"/>
                  <a:gd name="T40" fmla="*/ 118 w 777"/>
                  <a:gd name="T41" fmla="*/ 440 h 502"/>
                  <a:gd name="T42" fmla="*/ 131 w 777"/>
                  <a:gd name="T43" fmla="*/ 464 h 502"/>
                  <a:gd name="T44" fmla="*/ 162 w 777"/>
                  <a:gd name="T45" fmla="*/ 464 h 502"/>
                  <a:gd name="T46" fmla="*/ 228 w 777"/>
                  <a:gd name="T47" fmla="*/ 484 h 502"/>
                  <a:gd name="T48" fmla="*/ 263 w 777"/>
                  <a:gd name="T49" fmla="*/ 476 h 502"/>
                  <a:gd name="T50" fmla="*/ 293 w 777"/>
                  <a:gd name="T51" fmla="*/ 501 h 50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777"/>
                  <a:gd name="T79" fmla="*/ 0 h 502"/>
                  <a:gd name="T80" fmla="*/ 777 w 777"/>
                  <a:gd name="T81" fmla="*/ 502 h 502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777" h="502">
                    <a:moveTo>
                      <a:pt x="268" y="501"/>
                    </a:moveTo>
                    <a:lnTo>
                      <a:pt x="276" y="452"/>
                    </a:lnTo>
                    <a:lnTo>
                      <a:pt x="756" y="493"/>
                    </a:lnTo>
                    <a:lnTo>
                      <a:pt x="764" y="404"/>
                    </a:lnTo>
                    <a:lnTo>
                      <a:pt x="776" y="72"/>
                    </a:lnTo>
                    <a:lnTo>
                      <a:pt x="528" y="64"/>
                    </a:lnTo>
                    <a:lnTo>
                      <a:pt x="360" y="44"/>
                    </a:lnTo>
                    <a:lnTo>
                      <a:pt x="76" y="4"/>
                    </a:lnTo>
                    <a:lnTo>
                      <a:pt x="28" y="0"/>
                    </a:lnTo>
                    <a:lnTo>
                      <a:pt x="0" y="112"/>
                    </a:lnTo>
                    <a:lnTo>
                      <a:pt x="12" y="112"/>
                    </a:lnTo>
                    <a:lnTo>
                      <a:pt x="12" y="148"/>
                    </a:lnTo>
                    <a:lnTo>
                      <a:pt x="40" y="240"/>
                    </a:lnTo>
                    <a:lnTo>
                      <a:pt x="40" y="264"/>
                    </a:lnTo>
                    <a:lnTo>
                      <a:pt x="52" y="252"/>
                    </a:lnTo>
                    <a:lnTo>
                      <a:pt x="68" y="280"/>
                    </a:lnTo>
                    <a:lnTo>
                      <a:pt x="68" y="316"/>
                    </a:lnTo>
                    <a:lnTo>
                      <a:pt x="56" y="340"/>
                    </a:lnTo>
                    <a:lnTo>
                      <a:pt x="60" y="364"/>
                    </a:lnTo>
                    <a:lnTo>
                      <a:pt x="92" y="364"/>
                    </a:lnTo>
                    <a:lnTo>
                      <a:pt x="108" y="440"/>
                    </a:lnTo>
                    <a:lnTo>
                      <a:pt x="120" y="464"/>
                    </a:lnTo>
                    <a:lnTo>
                      <a:pt x="148" y="464"/>
                    </a:lnTo>
                    <a:lnTo>
                      <a:pt x="208" y="484"/>
                    </a:lnTo>
                    <a:lnTo>
                      <a:pt x="240" y="476"/>
                    </a:lnTo>
                    <a:lnTo>
                      <a:pt x="268" y="501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08" name="Freeform 40"/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3129884" y="2570163"/>
                <a:ext cx="925537" cy="708025"/>
              </a:xfrm>
              <a:custGeom>
                <a:avLst/>
                <a:gdLst>
                  <a:gd name="T0" fmla="*/ 582 w 533"/>
                  <a:gd name="T1" fmla="*/ 41 h 446"/>
                  <a:gd name="T2" fmla="*/ 57 w 533"/>
                  <a:gd name="T3" fmla="*/ 0 h 446"/>
                  <a:gd name="T4" fmla="*/ 48 w 533"/>
                  <a:gd name="T5" fmla="*/ 49 h 446"/>
                  <a:gd name="T6" fmla="*/ 9 w 533"/>
                  <a:gd name="T7" fmla="*/ 313 h 446"/>
                  <a:gd name="T8" fmla="*/ 0 w 533"/>
                  <a:gd name="T9" fmla="*/ 405 h 446"/>
                  <a:gd name="T10" fmla="*/ 153 w 533"/>
                  <a:gd name="T11" fmla="*/ 417 h 446"/>
                  <a:gd name="T12" fmla="*/ 569 w 533"/>
                  <a:gd name="T13" fmla="*/ 445 h 446"/>
                  <a:gd name="T14" fmla="*/ 578 w 533"/>
                  <a:gd name="T15" fmla="*/ 241 h 446"/>
                  <a:gd name="T16" fmla="*/ 582 w 533"/>
                  <a:gd name="T17" fmla="*/ 41 h 44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33"/>
                  <a:gd name="T28" fmla="*/ 0 h 446"/>
                  <a:gd name="T29" fmla="*/ 533 w 533"/>
                  <a:gd name="T30" fmla="*/ 446 h 44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33" h="446">
                    <a:moveTo>
                      <a:pt x="532" y="41"/>
                    </a:moveTo>
                    <a:lnTo>
                      <a:pt x="52" y="0"/>
                    </a:lnTo>
                    <a:lnTo>
                      <a:pt x="44" y="49"/>
                    </a:lnTo>
                    <a:lnTo>
                      <a:pt x="8" y="313"/>
                    </a:lnTo>
                    <a:lnTo>
                      <a:pt x="0" y="405"/>
                    </a:lnTo>
                    <a:lnTo>
                      <a:pt x="140" y="417"/>
                    </a:lnTo>
                    <a:lnTo>
                      <a:pt x="520" y="445"/>
                    </a:lnTo>
                    <a:lnTo>
                      <a:pt x="528" y="241"/>
                    </a:lnTo>
                    <a:lnTo>
                      <a:pt x="532" y="41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09" name="Freeform 41"/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7179703" y="3067050"/>
                <a:ext cx="598503" cy="287338"/>
              </a:xfrm>
              <a:custGeom>
                <a:avLst/>
                <a:gdLst>
                  <a:gd name="T0" fmla="*/ 376 w 345"/>
                  <a:gd name="T1" fmla="*/ 108 h 181"/>
                  <a:gd name="T2" fmla="*/ 367 w 345"/>
                  <a:gd name="T3" fmla="*/ 172 h 181"/>
                  <a:gd name="T4" fmla="*/ 337 w 345"/>
                  <a:gd name="T5" fmla="*/ 180 h 181"/>
                  <a:gd name="T6" fmla="*/ 315 w 345"/>
                  <a:gd name="T7" fmla="*/ 152 h 181"/>
                  <a:gd name="T8" fmla="*/ 275 w 345"/>
                  <a:gd name="T9" fmla="*/ 124 h 181"/>
                  <a:gd name="T10" fmla="*/ 271 w 345"/>
                  <a:gd name="T11" fmla="*/ 100 h 181"/>
                  <a:gd name="T12" fmla="*/ 284 w 345"/>
                  <a:gd name="T13" fmla="*/ 100 h 181"/>
                  <a:gd name="T14" fmla="*/ 284 w 345"/>
                  <a:gd name="T15" fmla="*/ 76 h 181"/>
                  <a:gd name="T16" fmla="*/ 275 w 345"/>
                  <a:gd name="T17" fmla="*/ 52 h 181"/>
                  <a:gd name="T18" fmla="*/ 284 w 345"/>
                  <a:gd name="T19" fmla="*/ 24 h 181"/>
                  <a:gd name="T20" fmla="*/ 262 w 345"/>
                  <a:gd name="T21" fmla="*/ 40 h 181"/>
                  <a:gd name="T22" fmla="*/ 245 w 345"/>
                  <a:gd name="T23" fmla="*/ 56 h 181"/>
                  <a:gd name="T24" fmla="*/ 249 w 345"/>
                  <a:gd name="T25" fmla="*/ 108 h 181"/>
                  <a:gd name="T26" fmla="*/ 271 w 345"/>
                  <a:gd name="T27" fmla="*/ 140 h 181"/>
                  <a:gd name="T28" fmla="*/ 280 w 345"/>
                  <a:gd name="T29" fmla="*/ 168 h 181"/>
                  <a:gd name="T30" fmla="*/ 262 w 345"/>
                  <a:gd name="T31" fmla="*/ 176 h 181"/>
                  <a:gd name="T32" fmla="*/ 227 w 345"/>
                  <a:gd name="T33" fmla="*/ 152 h 181"/>
                  <a:gd name="T34" fmla="*/ 205 w 345"/>
                  <a:gd name="T35" fmla="*/ 152 h 181"/>
                  <a:gd name="T36" fmla="*/ 210 w 345"/>
                  <a:gd name="T37" fmla="*/ 124 h 181"/>
                  <a:gd name="T38" fmla="*/ 223 w 345"/>
                  <a:gd name="T39" fmla="*/ 108 h 181"/>
                  <a:gd name="T40" fmla="*/ 170 w 345"/>
                  <a:gd name="T41" fmla="*/ 80 h 181"/>
                  <a:gd name="T42" fmla="*/ 153 w 345"/>
                  <a:gd name="T43" fmla="*/ 84 h 181"/>
                  <a:gd name="T44" fmla="*/ 140 w 345"/>
                  <a:gd name="T45" fmla="*/ 60 h 181"/>
                  <a:gd name="T46" fmla="*/ 109 w 345"/>
                  <a:gd name="T47" fmla="*/ 52 h 181"/>
                  <a:gd name="T48" fmla="*/ 92 w 345"/>
                  <a:gd name="T49" fmla="*/ 72 h 181"/>
                  <a:gd name="T50" fmla="*/ 52 w 345"/>
                  <a:gd name="T51" fmla="*/ 72 h 181"/>
                  <a:gd name="T52" fmla="*/ 39 w 345"/>
                  <a:gd name="T53" fmla="*/ 100 h 181"/>
                  <a:gd name="T54" fmla="*/ 9 w 345"/>
                  <a:gd name="T55" fmla="*/ 104 h 181"/>
                  <a:gd name="T56" fmla="*/ 0 w 345"/>
                  <a:gd name="T57" fmla="*/ 60 h 181"/>
                  <a:gd name="T58" fmla="*/ 280 w 345"/>
                  <a:gd name="T59" fmla="*/ 0 h 181"/>
                  <a:gd name="T60" fmla="*/ 328 w 345"/>
                  <a:gd name="T61" fmla="*/ 120 h 181"/>
                  <a:gd name="T62" fmla="*/ 376 w 345"/>
                  <a:gd name="T63" fmla="*/ 108 h 181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345"/>
                  <a:gd name="T97" fmla="*/ 0 h 181"/>
                  <a:gd name="T98" fmla="*/ 345 w 345"/>
                  <a:gd name="T99" fmla="*/ 181 h 181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345" h="181">
                    <a:moveTo>
                      <a:pt x="344" y="108"/>
                    </a:moveTo>
                    <a:lnTo>
                      <a:pt x="336" y="172"/>
                    </a:lnTo>
                    <a:lnTo>
                      <a:pt x="308" y="180"/>
                    </a:lnTo>
                    <a:lnTo>
                      <a:pt x="288" y="152"/>
                    </a:lnTo>
                    <a:lnTo>
                      <a:pt x="252" y="124"/>
                    </a:lnTo>
                    <a:lnTo>
                      <a:pt x="248" y="100"/>
                    </a:lnTo>
                    <a:lnTo>
                      <a:pt x="260" y="100"/>
                    </a:lnTo>
                    <a:lnTo>
                      <a:pt x="260" y="76"/>
                    </a:lnTo>
                    <a:lnTo>
                      <a:pt x="252" y="52"/>
                    </a:lnTo>
                    <a:lnTo>
                      <a:pt x="260" y="24"/>
                    </a:lnTo>
                    <a:lnTo>
                      <a:pt x="240" y="40"/>
                    </a:lnTo>
                    <a:lnTo>
                      <a:pt x="224" y="56"/>
                    </a:lnTo>
                    <a:lnTo>
                      <a:pt x="228" y="108"/>
                    </a:lnTo>
                    <a:lnTo>
                      <a:pt x="248" y="140"/>
                    </a:lnTo>
                    <a:lnTo>
                      <a:pt x="256" y="168"/>
                    </a:lnTo>
                    <a:lnTo>
                      <a:pt x="240" y="176"/>
                    </a:lnTo>
                    <a:lnTo>
                      <a:pt x="208" y="152"/>
                    </a:lnTo>
                    <a:lnTo>
                      <a:pt x="188" y="152"/>
                    </a:lnTo>
                    <a:lnTo>
                      <a:pt x="192" y="124"/>
                    </a:lnTo>
                    <a:lnTo>
                      <a:pt x="204" y="108"/>
                    </a:lnTo>
                    <a:lnTo>
                      <a:pt x="156" y="80"/>
                    </a:lnTo>
                    <a:lnTo>
                      <a:pt x="140" y="84"/>
                    </a:lnTo>
                    <a:lnTo>
                      <a:pt x="128" y="60"/>
                    </a:lnTo>
                    <a:lnTo>
                      <a:pt x="100" y="52"/>
                    </a:lnTo>
                    <a:lnTo>
                      <a:pt x="84" y="72"/>
                    </a:lnTo>
                    <a:lnTo>
                      <a:pt x="48" y="72"/>
                    </a:lnTo>
                    <a:lnTo>
                      <a:pt x="36" y="100"/>
                    </a:lnTo>
                    <a:lnTo>
                      <a:pt x="8" y="104"/>
                    </a:lnTo>
                    <a:lnTo>
                      <a:pt x="0" y="60"/>
                    </a:lnTo>
                    <a:lnTo>
                      <a:pt x="256" y="0"/>
                    </a:lnTo>
                    <a:lnTo>
                      <a:pt x="300" y="120"/>
                    </a:lnTo>
                    <a:lnTo>
                      <a:pt x="344" y="108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10" name="Freeform 42"/>
              <p:cNvSpPr>
                <a:spLocks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5965234" y="3422650"/>
                <a:ext cx="958875" cy="490538"/>
              </a:xfrm>
              <a:custGeom>
                <a:avLst/>
                <a:gdLst>
                  <a:gd name="T0" fmla="*/ 22 w 553"/>
                  <a:gd name="T1" fmla="*/ 308 h 309"/>
                  <a:gd name="T2" fmla="*/ 26 w 553"/>
                  <a:gd name="T3" fmla="*/ 292 h 309"/>
                  <a:gd name="T4" fmla="*/ 9 w 553"/>
                  <a:gd name="T5" fmla="*/ 280 h 309"/>
                  <a:gd name="T6" fmla="*/ 0 w 553"/>
                  <a:gd name="T7" fmla="*/ 268 h 309"/>
                  <a:gd name="T8" fmla="*/ 13 w 553"/>
                  <a:gd name="T9" fmla="*/ 252 h 309"/>
                  <a:gd name="T10" fmla="*/ 70 w 553"/>
                  <a:gd name="T11" fmla="*/ 252 h 309"/>
                  <a:gd name="T12" fmla="*/ 66 w 553"/>
                  <a:gd name="T13" fmla="*/ 232 h 309"/>
                  <a:gd name="T14" fmla="*/ 87 w 553"/>
                  <a:gd name="T15" fmla="*/ 220 h 309"/>
                  <a:gd name="T16" fmla="*/ 74 w 553"/>
                  <a:gd name="T17" fmla="*/ 208 h 309"/>
                  <a:gd name="T18" fmla="*/ 100 w 553"/>
                  <a:gd name="T19" fmla="*/ 168 h 309"/>
                  <a:gd name="T20" fmla="*/ 127 w 553"/>
                  <a:gd name="T21" fmla="*/ 148 h 309"/>
                  <a:gd name="T22" fmla="*/ 232 w 553"/>
                  <a:gd name="T23" fmla="*/ 136 h 309"/>
                  <a:gd name="T24" fmla="*/ 236 w 553"/>
                  <a:gd name="T25" fmla="*/ 108 h 309"/>
                  <a:gd name="T26" fmla="*/ 267 w 553"/>
                  <a:gd name="T27" fmla="*/ 128 h 309"/>
                  <a:gd name="T28" fmla="*/ 288 w 553"/>
                  <a:gd name="T29" fmla="*/ 84 h 309"/>
                  <a:gd name="T30" fmla="*/ 310 w 553"/>
                  <a:gd name="T31" fmla="*/ 48 h 309"/>
                  <a:gd name="T32" fmla="*/ 345 w 553"/>
                  <a:gd name="T33" fmla="*/ 16 h 309"/>
                  <a:gd name="T34" fmla="*/ 411 w 553"/>
                  <a:gd name="T35" fmla="*/ 0 h 309"/>
                  <a:gd name="T36" fmla="*/ 441 w 553"/>
                  <a:gd name="T37" fmla="*/ 20 h 309"/>
                  <a:gd name="T38" fmla="*/ 467 w 553"/>
                  <a:gd name="T39" fmla="*/ 4 h 309"/>
                  <a:gd name="T40" fmla="*/ 489 w 553"/>
                  <a:gd name="T41" fmla="*/ 16 h 309"/>
                  <a:gd name="T42" fmla="*/ 498 w 553"/>
                  <a:gd name="T43" fmla="*/ 0 h 309"/>
                  <a:gd name="T44" fmla="*/ 516 w 553"/>
                  <a:gd name="T45" fmla="*/ 0 h 309"/>
                  <a:gd name="T46" fmla="*/ 546 w 553"/>
                  <a:gd name="T47" fmla="*/ 28 h 309"/>
                  <a:gd name="T48" fmla="*/ 555 w 553"/>
                  <a:gd name="T49" fmla="*/ 80 h 309"/>
                  <a:gd name="T50" fmla="*/ 577 w 553"/>
                  <a:gd name="T51" fmla="*/ 96 h 309"/>
                  <a:gd name="T52" fmla="*/ 585 w 553"/>
                  <a:gd name="T53" fmla="*/ 120 h 309"/>
                  <a:gd name="T54" fmla="*/ 603 w 553"/>
                  <a:gd name="T55" fmla="*/ 120 h 309"/>
                  <a:gd name="T56" fmla="*/ 581 w 553"/>
                  <a:gd name="T57" fmla="*/ 156 h 309"/>
                  <a:gd name="T58" fmla="*/ 555 w 553"/>
                  <a:gd name="T59" fmla="*/ 168 h 309"/>
                  <a:gd name="T60" fmla="*/ 550 w 553"/>
                  <a:gd name="T61" fmla="*/ 200 h 309"/>
                  <a:gd name="T62" fmla="*/ 498 w 553"/>
                  <a:gd name="T63" fmla="*/ 232 h 309"/>
                  <a:gd name="T64" fmla="*/ 144 w 553"/>
                  <a:gd name="T65" fmla="*/ 284 h 309"/>
                  <a:gd name="T66" fmla="*/ 109 w 553"/>
                  <a:gd name="T67" fmla="*/ 280 h 309"/>
                  <a:gd name="T68" fmla="*/ 114 w 553"/>
                  <a:gd name="T69" fmla="*/ 296 h 309"/>
                  <a:gd name="T70" fmla="*/ 22 w 553"/>
                  <a:gd name="T71" fmla="*/ 308 h 309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553"/>
                  <a:gd name="T109" fmla="*/ 0 h 309"/>
                  <a:gd name="T110" fmla="*/ 553 w 553"/>
                  <a:gd name="T111" fmla="*/ 309 h 309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553" h="309">
                    <a:moveTo>
                      <a:pt x="20" y="308"/>
                    </a:moveTo>
                    <a:lnTo>
                      <a:pt x="24" y="292"/>
                    </a:lnTo>
                    <a:lnTo>
                      <a:pt x="8" y="280"/>
                    </a:lnTo>
                    <a:lnTo>
                      <a:pt x="0" y="268"/>
                    </a:lnTo>
                    <a:lnTo>
                      <a:pt x="12" y="252"/>
                    </a:lnTo>
                    <a:lnTo>
                      <a:pt x="64" y="252"/>
                    </a:lnTo>
                    <a:lnTo>
                      <a:pt x="60" y="232"/>
                    </a:lnTo>
                    <a:lnTo>
                      <a:pt x="80" y="220"/>
                    </a:lnTo>
                    <a:lnTo>
                      <a:pt x="68" y="208"/>
                    </a:lnTo>
                    <a:lnTo>
                      <a:pt x="92" y="168"/>
                    </a:lnTo>
                    <a:lnTo>
                      <a:pt x="116" y="148"/>
                    </a:lnTo>
                    <a:lnTo>
                      <a:pt x="212" y="136"/>
                    </a:lnTo>
                    <a:lnTo>
                      <a:pt x="216" y="108"/>
                    </a:lnTo>
                    <a:lnTo>
                      <a:pt x="244" y="128"/>
                    </a:lnTo>
                    <a:lnTo>
                      <a:pt x="264" y="84"/>
                    </a:lnTo>
                    <a:lnTo>
                      <a:pt x="284" y="48"/>
                    </a:lnTo>
                    <a:lnTo>
                      <a:pt x="316" y="16"/>
                    </a:lnTo>
                    <a:lnTo>
                      <a:pt x="376" y="0"/>
                    </a:lnTo>
                    <a:lnTo>
                      <a:pt x="404" y="20"/>
                    </a:lnTo>
                    <a:lnTo>
                      <a:pt x="428" y="4"/>
                    </a:lnTo>
                    <a:lnTo>
                      <a:pt x="448" y="16"/>
                    </a:lnTo>
                    <a:lnTo>
                      <a:pt x="456" y="0"/>
                    </a:lnTo>
                    <a:lnTo>
                      <a:pt x="472" y="0"/>
                    </a:lnTo>
                    <a:lnTo>
                      <a:pt x="500" y="28"/>
                    </a:lnTo>
                    <a:lnTo>
                      <a:pt x="508" y="80"/>
                    </a:lnTo>
                    <a:lnTo>
                      <a:pt x="528" y="96"/>
                    </a:lnTo>
                    <a:lnTo>
                      <a:pt x="536" y="120"/>
                    </a:lnTo>
                    <a:lnTo>
                      <a:pt x="552" y="120"/>
                    </a:lnTo>
                    <a:lnTo>
                      <a:pt x="532" y="156"/>
                    </a:lnTo>
                    <a:lnTo>
                      <a:pt x="508" y="168"/>
                    </a:lnTo>
                    <a:lnTo>
                      <a:pt x="504" y="200"/>
                    </a:lnTo>
                    <a:lnTo>
                      <a:pt x="456" y="232"/>
                    </a:lnTo>
                    <a:lnTo>
                      <a:pt x="132" y="284"/>
                    </a:lnTo>
                    <a:lnTo>
                      <a:pt x="100" y="280"/>
                    </a:lnTo>
                    <a:lnTo>
                      <a:pt x="104" y="296"/>
                    </a:lnTo>
                    <a:lnTo>
                      <a:pt x="20" y="308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11" name="Freeform 43"/>
              <p:cNvSpPr>
                <a:spLocks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7624215" y="3028950"/>
                <a:ext cx="161929" cy="230188"/>
              </a:xfrm>
              <a:custGeom>
                <a:avLst/>
                <a:gdLst>
                  <a:gd name="T0" fmla="*/ 0 w 93"/>
                  <a:gd name="T1" fmla="*/ 24 h 145"/>
                  <a:gd name="T2" fmla="*/ 48 w 93"/>
                  <a:gd name="T3" fmla="*/ 144 h 145"/>
                  <a:gd name="T4" fmla="*/ 97 w 93"/>
                  <a:gd name="T5" fmla="*/ 132 h 145"/>
                  <a:gd name="T6" fmla="*/ 101 w 93"/>
                  <a:gd name="T7" fmla="*/ 116 h 145"/>
                  <a:gd name="T8" fmla="*/ 83 w 93"/>
                  <a:gd name="T9" fmla="*/ 100 h 145"/>
                  <a:gd name="T10" fmla="*/ 61 w 93"/>
                  <a:gd name="T11" fmla="*/ 88 h 145"/>
                  <a:gd name="T12" fmla="*/ 35 w 93"/>
                  <a:gd name="T13" fmla="*/ 32 h 145"/>
                  <a:gd name="T14" fmla="*/ 39 w 93"/>
                  <a:gd name="T15" fmla="*/ 8 h 145"/>
                  <a:gd name="T16" fmla="*/ 13 w 93"/>
                  <a:gd name="T17" fmla="*/ 0 h 145"/>
                  <a:gd name="T18" fmla="*/ 0 w 93"/>
                  <a:gd name="T19" fmla="*/ 24 h 145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93"/>
                  <a:gd name="T31" fmla="*/ 0 h 145"/>
                  <a:gd name="T32" fmla="*/ 93 w 93"/>
                  <a:gd name="T33" fmla="*/ 145 h 145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93" h="145">
                    <a:moveTo>
                      <a:pt x="0" y="24"/>
                    </a:moveTo>
                    <a:lnTo>
                      <a:pt x="44" y="144"/>
                    </a:lnTo>
                    <a:lnTo>
                      <a:pt x="88" y="132"/>
                    </a:lnTo>
                    <a:lnTo>
                      <a:pt x="92" y="116"/>
                    </a:lnTo>
                    <a:lnTo>
                      <a:pt x="76" y="100"/>
                    </a:lnTo>
                    <a:lnTo>
                      <a:pt x="56" y="88"/>
                    </a:lnTo>
                    <a:lnTo>
                      <a:pt x="32" y="32"/>
                    </a:lnTo>
                    <a:lnTo>
                      <a:pt x="36" y="8"/>
                    </a:lnTo>
                    <a:lnTo>
                      <a:pt x="12" y="0"/>
                    </a:lnTo>
                    <a:lnTo>
                      <a:pt x="0" y="24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12" name="Freeform 44"/>
              <p:cNvSpPr>
                <a:spLocks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7708354" y="3340100"/>
                <a:ext cx="57151" cy="147638"/>
              </a:xfrm>
              <a:custGeom>
                <a:avLst/>
                <a:gdLst>
                  <a:gd name="T0" fmla="*/ 0 w 33"/>
                  <a:gd name="T1" fmla="*/ 48 h 93"/>
                  <a:gd name="T2" fmla="*/ 17 w 33"/>
                  <a:gd name="T3" fmla="*/ 92 h 93"/>
                  <a:gd name="T4" fmla="*/ 26 w 33"/>
                  <a:gd name="T5" fmla="*/ 80 h 93"/>
                  <a:gd name="T6" fmla="*/ 22 w 33"/>
                  <a:gd name="T7" fmla="*/ 48 h 93"/>
                  <a:gd name="T8" fmla="*/ 31 w 33"/>
                  <a:gd name="T9" fmla="*/ 48 h 93"/>
                  <a:gd name="T10" fmla="*/ 35 w 33"/>
                  <a:gd name="T11" fmla="*/ 0 h 93"/>
                  <a:gd name="T12" fmla="*/ 4 w 33"/>
                  <a:gd name="T13" fmla="*/ 8 h 93"/>
                  <a:gd name="T14" fmla="*/ 0 w 33"/>
                  <a:gd name="T15" fmla="*/ 48 h 9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3"/>
                  <a:gd name="T25" fmla="*/ 0 h 93"/>
                  <a:gd name="T26" fmla="*/ 33 w 33"/>
                  <a:gd name="T27" fmla="*/ 93 h 9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3" h="93">
                    <a:moveTo>
                      <a:pt x="0" y="48"/>
                    </a:moveTo>
                    <a:lnTo>
                      <a:pt x="16" y="92"/>
                    </a:lnTo>
                    <a:lnTo>
                      <a:pt x="24" y="80"/>
                    </a:lnTo>
                    <a:lnTo>
                      <a:pt x="20" y="48"/>
                    </a:lnTo>
                    <a:lnTo>
                      <a:pt x="28" y="48"/>
                    </a:lnTo>
                    <a:lnTo>
                      <a:pt x="32" y="0"/>
                    </a:lnTo>
                    <a:lnTo>
                      <a:pt x="4" y="8"/>
                    </a:lnTo>
                    <a:lnTo>
                      <a:pt x="0" y="48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13" name="Freeform 45"/>
              <p:cNvSpPr>
                <a:spLocks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6832031" y="3079750"/>
                <a:ext cx="592153" cy="579438"/>
              </a:xfrm>
              <a:custGeom>
                <a:avLst/>
                <a:gdLst>
                  <a:gd name="T0" fmla="*/ 114 w 341"/>
                  <a:gd name="T1" fmla="*/ 0 h 365"/>
                  <a:gd name="T2" fmla="*/ 131 w 341"/>
                  <a:gd name="T3" fmla="*/ 72 h 365"/>
                  <a:gd name="T4" fmla="*/ 219 w 341"/>
                  <a:gd name="T5" fmla="*/ 52 h 365"/>
                  <a:gd name="T6" fmla="*/ 228 w 341"/>
                  <a:gd name="T7" fmla="*/ 96 h 365"/>
                  <a:gd name="T8" fmla="*/ 258 w 341"/>
                  <a:gd name="T9" fmla="*/ 92 h 365"/>
                  <a:gd name="T10" fmla="*/ 271 w 341"/>
                  <a:gd name="T11" fmla="*/ 64 h 365"/>
                  <a:gd name="T12" fmla="*/ 311 w 341"/>
                  <a:gd name="T13" fmla="*/ 64 h 365"/>
                  <a:gd name="T14" fmla="*/ 328 w 341"/>
                  <a:gd name="T15" fmla="*/ 44 h 365"/>
                  <a:gd name="T16" fmla="*/ 359 w 341"/>
                  <a:gd name="T17" fmla="*/ 52 h 365"/>
                  <a:gd name="T18" fmla="*/ 372 w 341"/>
                  <a:gd name="T19" fmla="*/ 76 h 365"/>
                  <a:gd name="T20" fmla="*/ 333 w 341"/>
                  <a:gd name="T21" fmla="*/ 64 h 365"/>
                  <a:gd name="T22" fmla="*/ 311 w 341"/>
                  <a:gd name="T23" fmla="*/ 120 h 365"/>
                  <a:gd name="T24" fmla="*/ 289 w 341"/>
                  <a:gd name="T25" fmla="*/ 140 h 365"/>
                  <a:gd name="T26" fmla="*/ 280 w 341"/>
                  <a:gd name="T27" fmla="*/ 176 h 365"/>
                  <a:gd name="T28" fmla="*/ 249 w 341"/>
                  <a:gd name="T29" fmla="*/ 192 h 365"/>
                  <a:gd name="T30" fmla="*/ 236 w 341"/>
                  <a:gd name="T31" fmla="*/ 184 h 365"/>
                  <a:gd name="T32" fmla="*/ 214 w 341"/>
                  <a:gd name="T33" fmla="*/ 196 h 365"/>
                  <a:gd name="T34" fmla="*/ 223 w 341"/>
                  <a:gd name="T35" fmla="*/ 212 h 365"/>
                  <a:gd name="T36" fmla="*/ 206 w 341"/>
                  <a:gd name="T37" fmla="*/ 264 h 365"/>
                  <a:gd name="T38" fmla="*/ 206 w 341"/>
                  <a:gd name="T39" fmla="*/ 292 h 365"/>
                  <a:gd name="T40" fmla="*/ 149 w 341"/>
                  <a:gd name="T41" fmla="*/ 332 h 365"/>
                  <a:gd name="T42" fmla="*/ 136 w 341"/>
                  <a:gd name="T43" fmla="*/ 332 h 365"/>
                  <a:gd name="T44" fmla="*/ 118 w 341"/>
                  <a:gd name="T45" fmla="*/ 356 h 365"/>
                  <a:gd name="T46" fmla="*/ 83 w 341"/>
                  <a:gd name="T47" fmla="*/ 364 h 365"/>
                  <a:gd name="T48" fmla="*/ 66 w 341"/>
                  <a:gd name="T49" fmla="*/ 336 h 365"/>
                  <a:gd name="T50" fmla="*/ 39 w 341"/>
                  <a:gd name="T51" fmla="*/ 336 h 365"/>
                  <a:gd name="T52" fmla="*/ 31 w 341"/>
                  <a:gd name="T53" fmla="*/ 312 h 365"/>
                  <a:gd name="T54" fmla="*/ 9 w 341"/>
                  <a:gd name="T55" fmla="*/ 296 h 365"/>
                  <a:gd name="T56" fmla="*/ 0 w 341"/>
                  <a:gd name="T57" fmla="*/ 244 h 365"/>
                  <a:gd name="T58" fmla="*/ 18 w 341"/>
                  <a:gd name="T59" fmla="*/ 232 h 365"/>
                  <a:gd name="T60" fmla="*/ 26 w 341"/>
                  <a:gd name="T61" fmla="*/ 216 h 365"/>
                  <a:gd name="T62" fmla="*/ 26 w 341"/>
                  <a:gd name="T63" fmla="*/ 196 h 365"/>
                  <a:gd name="T64" fmla="*/ 39 w 341"/>
                  <a:gd name="T65" fmla="*/ 172 h 365"/>
                  <a:gd name="T66" fmla="*/ 53 w 341"/>
                  <a:gd name="T67" fmla="*/ 168 h 365"/>
                  <a:gd name="T68" fmla="*/ 57 w 341"/>
                  <a:gd name="T69" fmla="*/ 144 h 365"/>
                  <a:gd name="T70" fmla="*/ 66 w 341"/>
                  <a:gd name="T71" fmla="*/ 124 h 365"/>
                  <a:gd name="T72" fmla="*/ 74 w 341"/>
                  <a:gd name="T73" fmla="*/ 112 h 365"/>
                  <a:gd name="T74" fmla="*/ 74 w 341"/>
                  <a:gd name="T75" fmla="*/ 120 h 365"/>
                  <a:gd name="T76" fmla="*/ 92 w 341"/>
                  <a:gd name="T77" fmla="*/ 100 h 365"/>
                  <a:gd name="T78" fmla="*/ 105 w 341"/>
                  <a:gd name="T79" fmla="*/ 68 h 365"/>
                  <a:gd name="T80" fmla="*/ 105 w 341"/>
                  <a:gd name="T81" fmla="*/ 24 h 365"/>
                  <a:gd name="T82" fmla="*/ 114 w 341"/>
                  <a:gd name="T83" fmla="*/ 0 h 365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341"/>
                  <a:gd name="T127" fmla="*/ 0 h 365"/>
                  <a:gd name="T128" fmla="*/ 341 w 341"/>
                  <a:gd name="T129" fmla="*/ 365 h 365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341" h="365">
                    <a:moveTo>
                      <a:pt x="104" y="0"/>
                    </a:moveTo>
                    <a:lnTo>
                      <a:pt x="120" y="72"/>
                    </a:lnTo>
                    <a:lnTo>
                      <a:pt x="200" y="52"/>
                    </a:lnTo>
                    <a:lnTo>
                      <a:pt x="208" y="96"/>
                    </a:lnTo>
                    <a:lnTo>
                      <a:pt x="236" y="92"/>
                    </a:lnTo>
                    <a:lnTo>
                      <a:pt x="248" y="64"/>
                    </a:lnTo>
                    <a:lnTo>
                      <a:pt x="284" y="64"/>
                    </a:lnTo>
                    <a:lnTo>
                      <a:pt x="300" y="44"/>
                    </a:lnTo>
                    <a:lnTo>
                      <a:pt x="328" y="52"/>
                    </a:lnTo>
                    <a:lnTo>
                      <a:pt x="340" y="76"/>
                    </a:lnTo>
                    <a:lnTo>
                      <a:pt x="304" y="64"/>
                    </a:lnTo>
                    <a:lnTo>
                      <a:pt x="284" y="120"/>
                    </a:lnTo>
                    <a:lnTo>
                      <a:pt x="264" y="140"/>
                    </a:lnTo>
                    <a:lnTo>
                      <a:pt x="256" y="176"/>
                    </a:lnTo>
                    <a:lnTo>
                      <a:pt x="228" y="192"/>
                    </a:lnTo>
                    <a:lnTo>
                      <a:pt x="216" y="184"/>
                    </a:lnTo>
                    <a:lnTo>
                      <a:pt x="196" y="196"/>
                    </a:lnTo>
                    <a:lnTo>
                      <a:pt x="204" y="212"/>
                    </a:lnTo>
                    <a:lnTo>
                      <a:pt x="188" y="264"/>
                    </a:lnTo>
                    <a:lnTo>
                      <a:pt x="188" y="292"/>
                    </a:lnTo>
                    <a:lnTo>
                      <a:pt x="136" y="332"/>
                    </a:lnTo>
                    <a:lnTo>
                      <a:pt x="124" y="332"/>
                    </a:lnTo>
                    <a:lnTo>
                      <a:pt x="108" y="356"/>
                    </a:lnTo>
                    <a:lnTo>
                      <a:pt x="76" y="364"/>
                    </a:lnTo>
                    <a:lnTo>
                      <a:pt x="60" y="336"/>
                    </a:lnTo>
                    <a:lnTo>
                      <a:pt x="36" y="336"/>
                    </a:lnTo>
                    <a:lnTo>
                      <a:pt x="28" y="312"/>
                    </a:lnTo>
                    <a:lnTo>
                      <a:pt x="8" y="296"/>
                    </a:lnTo>
                    <a:lnTo>
                      <a:pt x="0" y="244"/>
                    </a:lnTo>
                    <a:lnTo>
                      <a:pt x="16" y="232"/>
                    </a:lnTo>
                    <a:lnTo>
                      <a:pt x="24" y="216"/>
                    </a:lnTo>
                    <a:lnTo>
                      <a:pt x="24" y="196"/>
                    </a:lnTo>
                    <a:lnTo>
                      <a:pt x="36" y="172"/>
                    </a:lnTo>
                    <a:lnTo>
                      <a:pt x="48" y="168"/>
                    </a:lnTo>
                    <a:lnTo>
                      <a:pt x="52" y="144"/>
                    </a:lnTo>
                    <a:lnTo>
                      <a:pt x="60" y="124"/>
                    </a:lnTo>
                    <a:lnTo>
                      <a:pt x="68" y="112"/>
                    </a:lnTo>
                    <a:lnTo>
                      <a:pt x="68" y="120"/>
                    </a:lnTo>
                    <a:lnTo>
                      <a:pt x="84" y="100"/>
                    </a:lnTo>
                    <a:lnTo>
                      <a:pt x="96" y="68"/>
                    </a:lnTo>
                    <a:lnTo>
                      <a:pt x="96" y="24"/>
                    </a:lnTo>
                    <a:lnTo>
                      <a:pt x="104" y="0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14" name="Freeform 46"/>
              <p:cNvSpPr>
                <a:spLocks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6755829" y="3181350"/>
                <a:ext cx="1001739" cy="611188"/>
              </a:xfrm>
              <a:custGeom>
                <a:avLst/>
                <a:gdLst>
                  <a:gd name="T0" fmla="*/ 420 w 577"/>
                  <a:gd name="T1" fmla="*/ 12 h 385"/>
                  <a:gd name="T2" fmla="*/ 381 w 577"/>
                  <a:gd name="T3" fmla="*/ 0 h 385"/>
                  <a:gd name="T4" fmla="*/ 359 w 577"/>
                  <a:gd name="T5" fmla="*/ 56 h 385"/>
                  <a:gd name="T6" fmla="*/ 337 w 577"/>
                  <a:gd name="T7" fmla="*/ 76 h 385"/>
                  <a:gd name="T8" fmla="*/ 328 w 577"/>
                  <a:gd name="T9" fmla="*/ 112 h 385"/>
                  <a:gd name="T10" fmla="*/ 297 w 577"/>
                  <a:gd name="T11" fmla="*/ 128 h 385"/>
                  <a:gd name="T12" fmla="*/ 284 w 577"/>
                  <a:gd name="T13" fmla="*/ 120 h 385"/>
                  <a:gd name="T14" fmla="*/ 262 w 577"/>
                  <a:gd name="T15" fmla="*/ 132 h 385"/>
                  <a:gd name="T16" fmla="*/ 271 w 577"/>
                  <a:gd name="T17" fmla="*/ 148 h 385"/>
                  <a:gd name="T18" fmla="*/ 254 w 577"/>
                  <a:gd name="T19" fmla="*/ 200 h 385"/>
                  <a:gd name="T20" fmla="*/ 254 w 577"/>
                  <a:gd name="T21" fmla="*/ 228 h 385"/>
                  <a:gd name="T22" fmla="*/ 197 w 577"/>
                  <a:gd name="T23" fmla="*/ 268 h 385"/>
                  <a:gd name="T24" fmla="*/ 184 w 577"/>
                  <a:gd name="T25" fmla="*/ 268 h 385"/>
                  <a:gd name="T26" fmla="*/ 166 w 577"/>
                  <a:gd name="T27" fmla="*/ 292 h 385"/>
                  <a:gd name="T28" fmla="*/ 131 w 577"/>
                  <a:gd name="T29" fmla="*/ 300 h 385"/>
                  <a:gd name="T30" fmla="*/ 114 w 577"/>
                  <a:gd name="T31" fmla="*/ 272 h 385"/>
                  <a:gd name="T32" fmla="*/ 105 w 577"/>
                  <a:gd name="T33" fmla="*/ 272 h 385"/>
                  <a:gd name="T34" fmla="*/ 83 w 577"/>
                  <a:gd name="T35" fmla="*/ 308 h 385"/>
                  <a:gd name="T36" fmla="*/ 57 w 577"/>
                  <a:gd name="T37" fmla="*/ 320 h 385"/>
                  <a:gd name="T38" fmla="*/ 52 w 577"/>
                  <a:gd name="T39" fmla="*/ 352 h 385"/>
                  <a:gd name="T40" fmla="*/ 0 w 577"/>
                  <a:gd name="T41" fmla="*/ 384 h 385"/>
                  <a:gd name="T42" fmla="*/ 162 w 577"/>
                  <a:gd name="T43" fmla="*/ 356 h 385"/>
                  <a:gd name="T44" fmla="*/ 630 w 577"/>
                  <a:gd name="T45" fmla="*/ 256 h 385"/>
                  <a:gd name="T46" fmla="*/ 617 w 577"/>
                  <a:gd name="T47" fmla="*/ 216 h 385"/>
                  <a:gd name="T48" fmla="*/ 591 w 577"/>
                  <a:gd name="T49" fmla="*/ 212 h 385"/>
                  <a:gd name="T50" fmla="*/ 577 w 577"/>
                  <a:gd name="T51" fmla="*/ 228 h 385"/>
                  <a:gd name="T52" fmla="*/ 564 w 577"/>
                  <a:gd name="T53" fmla="*/ 220 h 385"/>
                  <a:gd name="T54" fmla="*/ 573 w 577"/>
                  <a:gd name="T55" fmla="*/ 208 h 385"/>
                  <a:gd name="T56" fmla="*/ 573 w 577"/>
                  <a:gd name="T57" fmla="*/ 192 h 385"/>
                  <a:gd name="T58" fmla="*/ 560 w 577"/>
                  <a:gd name="T59" fmla="*/ 184 h 385"/>
                  <a:gd name="T60" fmla="*/ 577 w 577"/>
                  <a:gd name="T61" fmla="*/ 172 h 385"/>
                  <a:gd name="T62" fmla="*/ 564 w 577"/>
                  <a:gd name="T63" fmla="*/ 156 h 385"/>
                  <a:gd name="T64" fmla="*/ 529 w 577"/>
                  <a:gd name="T65" fmla="*/ 136 h 385"/>
                  <a:gd name="T66" fmla="*/ 560 w 577"/>
                  <a:gd name="T67" fmla="*/ 136 h 385"/>
                  <a:gd name="T68" fmla="*/ 551 w 577"/>
                  <a:gd name="T69" fmla="*/ 116 h 385"/>
                  <a:gd name="T70" fmla="*/ 529 w 577"/>
                  <a:gd name="T71" fmla="*/ 104 h 385"/>
                  <a:gd name="T72" fmla="*/ 494 w 577"/>
                  <a:gd name="T73" fmla="*/ 80 h 385"/>
                  <a:gd name="T74" fmla="*/ 472 w 577"/>
                  <a:gd name="T75" fmla="*/ 80 h 385"/>
                  <a:gd name="T76" fmla="*/ 477 w 577"/>
                  <a:gd name="T77" fmla="*/ 52 h 385"/>
                  <a:gd name="T78" fmla="*/ 490 w 577"/>
                  <a:gd name="T79" fmla="*/ 36 h 385"/>
                  <a:gd name="T80" fmla="*/ 437 w 577"/>
                  <a:gd name="T81" fmla="*/ 8 h 385"/>
                  <a:gd name="T82" fmla="*/ 420 w 577"/>
                  <a:gd name="T83" fmla="*/ 12 h 385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577"/>
                  <a:gd name="T127" fmla="*/ 0 h 385"/>
                  <a:gd name="T128" fmla="*/ 577 w 577"/>
                  <a:gd name="T129" fmla="*/ 385 h 385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577" h="385">
                    <a:moveTo>
                      <a:pt x="384" y="12"/>
                    </a:moveTo>
                    <a:lnTo>
                      <a:pt x="348" y="0"/>
                    </a:lnTo>
                    <a:lnTo>
                      <a:pt x="328" y="56"/>
                    </a:lnTo>
                    <a:lnTo>
                      <a:pt x="308" y="76"/>
                    </a:lnTo>
                    <a:lnTo>
                      <a:pt x="300" y="112"/>
                    </a:lnTo>
                    <a:lnTo>
                      <a:pt x="272" y="128"/>
                    </a:lnTo>
                    <a:lnTo>
                      <a:pt x="260" y="120"/>
                    </a:lnTo>
                    <a:lnTo>
                      <a:pt x="240" y="132"/>
                    </a:lnTo>
                    <a:lnTo>
                      <a:pt x="248" y="148"/>
                    </a:lnTo>
                    <a:lnTo>
                      <a:pt x="232" y="200"/>
                    </a:lnTo>
                    <a:lnTo>
                      <a:pt x="232" y="228"/>
                    </a:lnTo>
                    <a:lnTo>
                      <a:pt x="180" y="268"/>
                    </a:lnTo>
                    <a:lnTo>
                      <a:pt x="168" y="268"/>
                    </a:lnTo>
                    <a:lnTo>
                      <a:pt x="152" y="292"/>
                    </a:lnTo>
                    <a:lnTo>
                      <a:pt x="120" y="300"/>
                    </a:lnTo>
                    <a:lnTo>
                      <a:pt x="104" y="272"/>
                    </a:lnTo>
                    <a:lnTo>
                      <a:pt x="96" y="272"/>
                    </a:lnTo>
                    <a:lnTo>
                      <a:pt x="76" y="308"/>
                    </a:lnTo>
                    <a:lnTo>
                      <a:pt x="52" y="320"/>
                    </a:lnTo>
                    <a:lnTo>
                      <a:pt x="48" y="352"/>
                    </a:lnTo>
                    <a:lnTo>
                      <a:pt x="0" y="384"/>
                    </a:lnTo>
                    <a:lnTo>
                      <a:pt x="148" y="356"/>
                    </a:lnTo>
                    <a:lnTo>
                      <a:pt x="576" y="256"/>
                    </a:lnTo>
                    <a:lnTo>
                      <a:pt x="564" y="216"/>
                    </a:lnTo>
                    <a:lnTo>
                      <a:pt x="540" y="212"/>
                    </a:lnTo>
                    <a:lnTo>
                      <a:pt x="528" y="228"/>
                    </a:lnTo>
                    <a:lnTo>
                      <a:pt x="516" y="220"/>
                    </a:lnTo>
                    <a:lnTo>
                      <a:pt x="524" y="208"/>
                    </a:lnTo>
                    <a:lnTo>
                      <a:pt x="524" y="192"/>
                    </a:lnTo>
                    <a:lnTo>
                      <a:pt x="512" y="184"/>
                    </a:lnTo>
                    <a:lnTo>
                      <a:pt x="528" y="172"/>
                    </a:lnTo>
                    <a:lnTo>
                      <a:pt x="516" y="156"/>
                    </a:lnTo>
                    <a:lnTo>
                      <a:pt x="484" y="136"/>
                    </a:lnTo>
                    <a:lnTo>
                      <a:pt x="512" y="136"/>
                    </a:lnTo>
                    <a:lnTo>
                      <a:pt x="504" y="116"/>
                    </a:lnTo>
                    <a:lnTo>
                      <a:pt x="484" y="104"/>
                    </a:lnTo>
                    <a:lnTo>
                      <a:pt x="452" y="80"/>
                    </a:lnTo>
                    <a:lnTo>
                      <a:pt x="432" y="80"/>
                    </a:lnTo>
                    <a:lnTo>
                      <a:pt x="436" y="52"/>
                    </a:lnTo>
                    <a:lnTo>
                      <a:pt x="448" y="36"/>
                    </a:lnTo>
                    <a:lnTo>
                      <a:pt x="400" y="8"/>
                    </a:lnTo>
                    <a:lnTo>
                      <a:pt x="384" y="12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15" name="Freeform 47"/>
              <p:cNvSpPr>
                <a:spLocks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2436128" y="3822700"/>
                <a:ext cx="882673" cy="1000125"/>
              </a:xfrm>
              <a:custGeom>
                <a:avLst/>
                <a:gdLst>
                  <a:gd name="T0" fmla="*/ 555 w 509"/>
                  <a:gd name="T1" fmla="*/ 40 h 630"/>
                  <a:gd name="T2" fmla="*/ 498 w 509"/>
                  <a:gd name="T3" fmla="*/ 629 h 630"/>
                  <a:gd name="T4" fmla="*/ 297 w 509"/>
                  <a:gd name="T5" fmla="*/ 613 h 630"/>
                  <a:gd name="T6" fmla="*/ 0 w 509"/>
                  <a:gd name="T7" fmla="*/ 460 h 630"/>
                  <a:gd name="T8" fmla="*/ 4 w 509"/>
                  <a:gd name="T9" fmla="*/ 428 h 630"/>
                  <a:gd name="T10" fmla="*/ 26 w 509"/>
                  <a:gd name="T11" fmla="*/ 396 h 630"/>
                  <a:gd name="T12" fmla="*/ 4 w 509"/>
                  <a:gd name="T13" fmla="*/ 380 h 630"/>
                  <a:gd name="T14" fmla="*/ 26 w 509"/>
                  <a:gd name="T15" fmla="*/ 340 h 630"/>
                  <a:gd name="T16" fmla="*/ 44 w 509"/>
                  <a:gd name="T17" fmla="*/ 296 h 630"/>
                  <a:gd name="T18" fmla="*/ 66 w 509"/>
                  <a:gd name="T19" fmla="*/ 276 h 630"/>
                  <a:gd name="T20" fmla="*/ 48 w 509"/>
                  <a:gd name="T21" fmla="*/ 236 h 630"/>
                  <a:gd name="T22" fmla="*/ 52 w 509"/>
                  <a:gd name="T23" fmla="*/ 188 h 630"/>
                  <a:gd name="T24" fmla="*/ 52 w 509"/>
                  <a:gd name="T25" fmla="*/ 88 h 630"/>
                  <a:gd name="T26" fmla="*/ 66 w 509"/>
                  <a:gd name="T27" fmla="*/ 68 h 630"/>
                  <a:gd name="T28" fmla="*/ 83 w 509"/>
                  <a:gd name="T29" fmla="*/ 68 h 630"/>
                  <a:gd name="T30" fmla="*/ 92 w 509"/>
                  <a:gd name="T31" fmla="*/ 88 h 630"/>
                  <a:gd name="T32" fmla="*/ 118 w 509"/>
                  <a:gd name="T33" fmla="*/ 76 h 630"/>
                  <a:gd name="T34" fmla="*/ 127 w 509"/>
                  <a:gd name="T35" fmla="*/ 0 h 630"/>
                  <a:gd name="T36" fmla="*/ 555 w 509"/>
                  <a:gd name="T37" fmla="*/ 40 h 630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509"/>
                  <a:gd name="T58" fmla="*/ 0 h 630"/>
                  <a:gd name="T59" fmla="*/ 509 w 509"/>
                  <a:gd name="T60" fmla="*/ 630 h 630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509" h="630">
                    <a:moveTo>
                      <a:pt x="508" y="40"/>
                    </a:moveTo>
                    <a:lnTo>
                      <a:pt x="456" y="629"/>
                    </a:lnTo>
                    <a:lnTo>
                      <a:pt x="272" y="613"/>
                    </a:lnTo>
                    <a:lnTo>
                      <a:pt x="0" y="460"/>
                    </a:lnTo>
                    <a:lnTo>
                      <a:pt x="4" y="428"/>
                    </a:lnTo>
                    <a:lnTo>
                      <a:pt x="24" y="396"/>
                    </a:lnTo>
                    <a:lnTo>
                      <a:pt x="4" y="380"/>
                    </a:lnTo>
                    <a:lnTo>
                      <a:pt x="24" y="340"/>
                    </a:lnTo>
                    <a:lnTo>
                      <a:pt x="40" y="296"/>
                    </a:lnTo>
                    <a:lnTo>
                      <a:pt x="60" y="276"/>
                    </a:lnTo>
                    <a:lnTo>
                      <a:pt x="44" y="236"/>
                    </a:lnTo>
                    <a:lnTo>
                      <a:pt x="48" y="188"/>
                    </a:lnTo>
                    <a:lnTo>
                      <a:pt x="48" y="88"/>
                    </a:lnTo>
                    <a:lnTo>
                      <a:pt x="60" y="68"/>
                    </a:lnTo>
                    <a:lnTo>
                      <a:pt x="76" y="68"/>
                    </a:lnTo>
                    <a:lnTo>
                      <a:pt x="84" y="88"/>
                    </a:lnTo>
                    <a:lnTo>
                      <a:pt x="108" y="76"/>
                    </a:lnTo>
                    <a:lnTo>
                      <a:pt x="116" y="0"/>
                    </a:lnTo>
                    <a:lnTo>
                      <a:pt x="508" y="40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16" name="Freeform 48"/>
              <p:cNvSpPr>
                <a:spLocks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3226724" y="3886200"/>
                <a:ext cx="904899" cy="942975"/>
              </a:xfrm>
              <a:custGeom>
                <a:avLst/>
                <a:gdLst>
                  <a:gd name="T0" fmla="*/ 0 w 521"/>
                  <a:gd name="T1" fmla="*/ 589 h 594"/>
                  <a:gd name="T2" fmla="*/ 74 w 521"/>
                  <a:gd name="T3" fmla="*/ 593 h 594"/>
                  <a:gd name="T4" fmla="*/ 83 w 521"/>
                  <a:gd name="T5" fmla="*/ 549 h 594"/>
                  <a:gd name="T6" fmla="*/ 249 w 521"/>
                  <a:gd name="T7" fmla="*/ 557 h 594"/>
                  <a:gd name="T8" fmla="*/ 249 w 521"/>
                  <a:gd name="T9" fmla="*/ 533 h 594"/>
                  <a:gd name="T10" fmla="*/ 560 w 521"/>
                  <a:gd name="T11" fmla="*/ 533 h 594"/>
                  <a:gd name="T12" fmla="*/ 569 w 521"/>
                  <a:gd name="T13" fmla="*/ 72 h 594"/>
                  <a:gd name="T14" fmla="*/ 569 w 521"/>
                  <a:gd name="T15" fmla="*/ 32 h 594"/>
                  <a:gd name="T16" fmla="*/ 57 w 521"/>
                  <a:gd name="T17" fmla="*/ 0 h 594"/>
                  <a:gd name="T18" fmla="*/ 0 w 521"/>
                  <a:gd name="T19" fmla="*/ 589 h 59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21"/>
                  <a:gd name="T31" fmla="*/ 0 h 594"/>
                  <a:gd name="T32" fmla="*/ 521 w 521"/>
                  <a:gd name="T33" fmla="*/ 594 h 594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21" h="594">
                    <a:moveTo>
                      <a:pt x="0" y="589"/>
                    </a:moveTo>
                    <a:lnTo>
                      <a:pt x="68" y="593"/>
                    </a:lnTo>
                    <a:lnTo>
                      <a:pt x="76" y="549"/>
                    </a:lnTo>
                    <a:lnTo>
                      <a:pt x="228" y="557"/>
                    </a:lnTo>
                    <a:lnTo>
                      <a:pt x="228" y="533"/>
                    </a:lnTo>
                    <a:lnTo>
                      <a:pt x="512" y="533"/>
                    </a:lnTo>
                    <a:lnTo>
                      <a:pt x="520" y="72"/>
                    </a:lnTo>
                    <a:lnTo>
                      <a:pt x="520" y="32"/>
                    </a:lnTo>
                    <a:lnTo>
                      <a:pt x="52" y="0"/>
                    </a:lnTo>
                    <a:lnTo>
                      <a:pt x="0" y="589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17" name="Freeform 49"/>
              <p:cNvSpPr>
                <a:spLocks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3623610" y="4000500"/>
                <a:ext cx="1863774" cy="1698625"/>
              </a:xfrm>
              <a:custGeom>
                <a:avLst/>
                <a:gdLst>
                  <a:gd name="T0" fmla="*/ 1103 w 1074"/>
                  <a:gd name="T1" fmla="*/ 292 h 1070"/>
                  <a:gd name="T2" fmla="*/ 1116 w 1074"/>
                  <a:gd name="T3" fmla="*/ 441 h 1070"/>
                  <a:gd name="T4" fmla="*/ 1138 w 1074"/>
                  <a:gd name="T5" fmla="*/ 501 h 1070"/>
                  <a:gd name="T6" fmla="*/ 1155 w 1074"/>
                  <a:gd name="T7" fmla="*/ 605 h 1070"/>
                  <a:gd name="T8" fmla="*/ 1125 w 1074"/>
                  <a:gd name="T9" fmla="*/ 673 h 1070"/>
                  <a:gd name="T10" fmla="*/ 1068 w 1074"/>
                  <a:gd name="T11" fmla="*/ 701 h 1070"/>
                  <a:gd name="T12" fmla="*/ 1050 w 1074"/>
                  <a:gd name="T13" fmla="*/ 673 h 1070"/>
                  <a:gd name="T14" fmla="*/ 1050 w 1074"/>
                  <a:gd name="T15" fmla="*/ 717 h 1070"/>
                  <a:gd name="T16" fmla="*/ 963 w 1074"/>
                  <a:gd name="T17" fmla="*/ 785 h 1070"/>
                  <a:gd name="T18" fmla="*/ 911 w 1074"/>
                  <a:gd name="T19" fmla="*/ 793 h 1070"/>
                  <a:gd name="T20" fmla="*/ 889 w 1074"/>
                  <a:gd name="T21" fmla="*/ 821 h 1070"/>
                  <a:gd name="T22" fmla="*/ 876 w 1074"/>
                  <a:gd name="T23" fmla="*/ 841 h 1070"/>
                  <a:gd name="T24" fmla="*/ 800 w 1074"/>
                  <a:gd name="T25" fmla="*/ 913 h 1070"/>
                  <a:gd name="T26" fmla="*/ 827 w 1074"/>
                  <a:gd name="T27" fmla="*/ 941 h 1070"/>
                  <a:gd name="T28" fmla="*/ 862 w 1074"/>
                  <a:gd name="T29" fmla="*/ 1061 h 1070"/>
                  <a:gd name="T30" fmla="*/ 813 w 1074"/>
                  <a:gd name="T31" fmla="*/ 1049 h 1070"/>
                  <a:gd name="T32" fmla="*/ 678 w 1074"/>
                  <a:gd name="T33" fmla="*/ 993 h 1070"/>
                  <a:gd name="T34" fmla="*/ 542 w 1074"/>
                  <a:gd name="T35" fmla="*/ 825 h 1070"/>
                  <a:gd name="T36" fmla="*/ 463 w 1074"/>
                  <a:gd name="T37" fmla="*/ 701 h 1070"/>
                  <a:gd name="T38" fmla="*/ 345 w 1074"/>
                  <a:gd name="T39" fmla="*/ 693 h 1070"/>
                  <a:gd name="T40" fmla="*/ 289 w 1074"/>
                  <a:gd name="T41" fmla="*/ 741 h 1070"/>
                  <a:gd name="T42" fmla="*/ 184 w 1074"/>
                  <a:gd name="T43" fmla="*/ 705 h 1070"/>
                  <a:gd name="T44" fmla="*/ 114 w 1074"/>
                  <a:gd name="T45" fmla="*/ 609 h 1070"/>
                  <a:gd name="T46" fmla="*/ 57 w 1074"/>
                  <a:gd name="T47" fmla="*/ 549 h 1070"/>
                  <a:gd name="T48" fmla="*/ 0 w 1074"/>
                  <a:gd name="T49" fmla="*/ 485 h 1070"/>
                  <a:gd name="T50" fmla="*/ 310 w 1074"/>
                  <a:gd name="T51" fmla="*/ 461 h 1070"/>
                  <a:gd name="T52" fmla="*/ 582 w 1074"/>
                  <a:gd name="T53" fmla="*/ 8 h 1070"/>
                  <a:gd name="T54" fmla="*/ 603 w 1074"/>
                  <a:gd name="T55" fmla="*/ 224 h 1070"/>
                  <a:gd name="T56" fmla="*/ 651 w 1074"/>
                  <a:gd name="T57" fmla="*/ 232 h 1070"/>
                  <a:gd name="T58" fmla="*/ 761 w 1074"/>
                  <a:gd name="T59" fmla="*/ 240 h 1070"/>
                  <a:gd name="T60" fmla="*/ 836 w 1074"/>
                  <a:gd name="T61" fmla="*/ 256 h 1070"/>
                  <a:gd name="T62" fmla="*/ 893 w 1074"/>
                  <a:gd name="T63" fmla="*/ 256 h 1070"/>
                  <a:gd name="T64" fmla="*/ 941 w 1074"/>
                  <a:gd name="T65" fmla="*/ 256 h 1070"/>
                  <a:gd name="T66" fmla="*/ 1037 w 1074"/>
                  <a:gd name="T67" fmla="*/ 268 h 107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074"/>
                  <a:gd name="T103" fmla="*/ 0 h 1070"/>
                  <a:gd name="T104" fmla="*/ 1074 w 1074"/>
                  <a:gd name="T105" fmla="*/ 1070 h 1070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074" h="1070">
                    <a:moveTo>
                      <a:pt x="969" y="268"/>
                    </a:moveTo>
                    <a:lnTo>
                      <a:pt x="1009" y="292"/>
                    </a:lnTo>
                    <a:lnTo>
                      <a:pt x="1013" y="356"/>
                    </a:lnTo>
                    <a:lnTo>
                      <a:pt x="1021" y="441"/>
                    </a:lnTo>
                    <a:lnTo>
                      <a:pt x="1033" y="461"/>
                    </a:lnTo>
                    <a:lnTo>
                      <a:pt x="1041" y="501"/>
                    </a:lnTo>
                    <a:lnTo>
                      <a:pt x="1073" y="553"/>
                    </a:lnTo>
                    <a:lnTo>
                      <a:pt x="1057" y="605"/>
                    </a:lnTo>
                    <a:lnTo>
                      <a:pt x="1057" y="661"/>
                    </a:lnTo>
                    <a:lnTo>
                      <a:pt x="1029" y="673"/>
                    </a:lnTo>
                    <a:lnTo>
                      <a:pt x="997" y="705"/>
                    </a:lnTo>
                    <a:lnTo>
                      <a:pt x="977" y="701"/>
                    </a:lnTo>
                    <a:lnTo>
                      <a:pt x="981" y="673"/>
                    </a:lnTo>
                    <a:lnTo>
                      <a:pt x="961" y="673"/>
                    </a:lnTo>
                    <a:lnTo>
                      <a:pt x="957" y="689"/>
                    </a:lnTo>
                    <a:lnTo>
                      <a:pt x="961" y="717"/>
                    </a:lnTo>
                    <a:lnTo>
                      <a:pt x="929" y="749"/>
                    </a:lnTo>
                    <a:lnTo>
                      <a:pt x="881" y="785"/>
                    </a:lnTo>
                    <a:lnTo>
                      <a:pt x="845" y="801"/>
                    </a:lnTo>
                    <a:lnTo>
                      <a:pt x="833" y="793"/>
                    </a:lnTo>
                    <a:lnTo>
                      <a:pt x="809" y="805"/>
                    </a:lnTo>
                    <a:lnTo>
                      <a:pt x="813" y="821"/>
                    </a:lnTo>
                    <a:lnTo>
                      <a:pt x="793" y="821"/>
                    </a:lnTo>
                    <a:lnTo>
                      <a:pt x="801" y="841"/>
                    </a:lnTo>
                    <a:lnTo>
                      <a:pt x="765" y="909"/>
                    </a:lnTo>
                    <a:lnTo>
                      <a:pt x="732" y="913"/>
                    </a:lnTo>
                    <a:lnTo>
                      <a:pt x="757" y="925"/>
                    </a:lnTo>
                    <a:lnTo>
                      <a:pt x="757" y="941"/>
                    </a:lnTo>
                    <a:lnTo>
                      <a:pt x="769" y="941"/>
                    </a:lnTo>
                    <a:lnTo>
                      <a:pt x="789" y="1061"/>
                    </a:lnTo>
                    <a:lnTo>
                      <a:pt x="765" y="1069"/>
                    </a:lnTo>
                    <a:lnTo>
                      <a:pt x="744" y="1049"/>
                    </a:lnTo>
                    <a:lnTo>
                      <a:pt x="712" y="1049"/>
                    </a:lnTo>
                    <a:lnTo>
                      <a:pt x="620" y="993"/>
                    </a:lnTo>
                    <a:lnTo>
                      <a:pt x="568" y="893"/>
                    </a:lnTo>
                    <a:lnTo>
                      <a:pt x="496" y="825"/>
                    </a:lnTo>
                    <a:lnTo>
                      <a:pt x="484" y="789"/>
                    </a:lnTo>
                    <a:lnTo>
                      <a:pt x="424" y="701"/>
                    </a:lnTo>
                    <a:lnTo>
                      <a:pt x="372" y="685"/>
                    </a:lnTo>
                    <a:lnTo>
                      <a:pt x="316" y="693"/>
                    </a:lnTo>
                    <a:lnTo>
                      <a:pt x="300" y="729"/>
                    </a:lnTo>
                    <a:lnTo>
                      <a:pt x="264" y="741"/>
                    </a:lnTo>
                    <a:lnTo>
                      <a:pt x="244" y="769"/>
                    </a:lnTo>
                    <a:lnTo>
                      <a:pt x="168" y="705"/>
                    </a:lnTo>
                    <a:lnTo>
                      <a:pt x="136" y="669"/>
                    </a:lnTo>
                    <a:lnTo>
                      <a:pt x="104" y="609"/>
                    </a:lnTo>
                    <a:lnTo>
                      <a:pt x="72" y="589"/>
                    </a:lnTo>
                    <a:lnTo>
                      <a:pt x="52" y="549"/>
                    </a:lnTo>
                    <a:lnTo>
                      <a:pt x="32" y="521"/>
                    </a:lnTo>
                    <a:lnTo>
                      <a:pt x="0" y="485"/>
                    </a:lnTo>
                    <a:lnTo>
                      <a:pt x="0" y="461"/>
                    </a:lnTo>
                    <a:lnTo>
                      <a:pt x="284" y="461"/>
                    </a:lnTo>
                    <a:lnTo>
                      <a:pt x="292" y="0"/>
                    </a:lnTo>
                    <a:lnTo>
                      <a:pt x="532" y="8"/>
                    </a:lnTo>
                    <a:lnTo>
                      <a:pt x="536" y="212"/>
                    </a:lnTo>
                    <a:lnTo>
                      <a:pt x="552" y="224"/>
                    </a:lnTo>
                    <a:lnTo>
                      <a:pt x="572" y="216"/>
                    </a:lnTo>
                    <a:lnTo>
                      <a:pt x="596" y="232"/>
                    </a:lnTo>
                    <a:lnTo>
                      <a:pt x="668" y="248"/>
                    </a:lnTo>
                    <a:lnTo>
                      <a:pt x="696" y="240"/>
                    </a:lnTo>
                    <a:lnTo>
                      <a:pt x="732" y="264"/>
                    </a:lnTo>
                    <a:lnTo>
                      <a:pt x="765" y="256"/>
                    </a:lnTo>
                    <a:lnTo>
                      <a:pt x="789" y="268"/>
                    </a:lnTo>
                    <a:lnTo>
                      <a:pt x="817" y="256"/>
                    </a:lnTo>
                    <a:lnTo>
                      <a:pt x="833" y="272"/>
                    </a:lnTo>
                    <a:lnTo>
                      <a:pt x="861" y="256"/>
                    </a:lnTo>
                    <a:lnTo>
                      <a:pt x="937" y="252"/>
                    </a:lnTo>
                    <a:lnTo>
                      <a:pt x="949" y="268"/>
                    </a:lnTo>
                    <a:lnTo>
                      <a:pt x="969" y="268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18" name="Freeform 50"/>
              <p:cNvSpPr>
                <a:spLocks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5284178" y="3930650"/>
                <a:ext cx="654067" cy="636588"/>
              </a:xfrm>
              <a:custGeom>
                <a:avLst/>
                <a:gdLst>
                  <a:gd name="T0" fmla="*/ 13 w 377"/>
                  <a:gd name="T1" fmla="*/ 312 h 401"/>
                  <a:gd name="T2" fmla="*/ 13 w 377"/>
                  <a:gd name="T3" fmla="*/ 140 h 401"/>
                  <a:gd name="T4" fmla="*/ 0 w 377"/>
                  <a:gd name="T5" fmla="*/ 28 h 401"/>
                  <a:gd name="T6" fmla="*/ 157 w 377"/>
                  <a:gd name="T7" fmla="*/ 20 h 401"/>
                  <a:gd name="T8" fmla="*/ 380 w 377"/>
                  <a:gd name="T9" fmla="*/ 0 h 401"/>
                  <a:gd name="T10" fmla="*/ 367 w 377"/>
                  <a:gd name="T11" fmla="*/ 44 h 401"/>
                  <a:gd name="T12" fmla="*/ 411 w 377"/>
                  <a:gd name="T13" fmla="*/ 44 h 401"/>
                  <a:gd name="T14" fmla="*/ 402 w 377"/>
                  <a:gd name="T15" fmla="*/ 112 h 401"/>
                  <a:gd name="T16" fmla="*/ 385 w 377"/>
                  <a:gd name="T17" fmla="*/ 128 h 401"/>
                  <a:gd name="T18" fmla="*/ 398 w 377"/>
                  <a:gd name="T19" fmla="*/ 128 h 401"/>
                  <a:gd name="T20" fmla="*/ 380 w 377"/>
                  <a:gd name="T21" fmla="*/ 156 h 401"/>
                  <a:gd name="T22" fmla="*/ 319 w 377"/>
                  <a:gd name="T23" fmla="*/ 264 h 401"/>
                  <a:gd name="T24" fmla="*/ 319 w 377"/>
                  <a:gd name="T25" fmla="*/ 320 h 401"/>
                  <a:gd name="T26" fmla="*/ 332 w 377"/>
                  <a:gd name="T27" fmla="*/ 328 h 401"/>
                  <a:gd name="T28" fmla="*/ 323 w 377"/>
                  <a:gd name="T29" fmla="*/ 372 h 401"/>
                  <a:gd name="T30" fmla="*/ 61 w 377"/>
                  <a:gd name="T31" fmla="*/ 400 h 401"/>
                  <a:gd name="T32" fmla="*/ 57 w 377"/>
                  <a:gd name="T33" fmla="*/ 336 h 401"/>
                  <a:gd name="T34" fmla="*/ 13 w 377"/>
                  <a:gd name="T35" fmla="*/ 312 h 401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377"/>
                  <a:gd name="T55" fmla="*/ 0 h 401"/>
                  <a:gd name="T56" fmla="*/ 377 w 377"/>
                  <a:gd name="T57" fmla="*/ 401 h 401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377" h="401">
                    <a:moveTo>
                      <a:pt x="12" y="312"/>
                    </a:moveTo>
                    <a:lnTo>
                      <a:pt x="12" y="140"/>
                    </a:lnTo>
                    <a:lnTo>
                      <a:pt x="0" y="28"/>
                    </a:lnTo>
                    <a:lnTo>
                      <a:pt x="144" y="20"/>
                    </a:lnTo>
                    <a:lnTo>
                      <a:pt x="348" y="0"/>
                    </a:lnTo>
                    <a:lnTo>
                      <a:pt x="336" y="44"/>
                    </a:lnTo>
                    <a:lnTo>
                      <a:pt x="376" y="44"/>
                    </a:lnTo>
                    <a:lnTo>
                      <a:pt x="368" y="112"/>
                    </a:lnTo>
                    <a:lnTo>
                      <a:pt x="352" y="128"/>
                    </a:lnTo>
                    <a:lnTo>
                      <a:pt x="364" y="128"/>
                    </a:lnTo>
                    <a:lnTo>
                      <a:pt x="348" y="156"/>
                    </a:lnTo>
                    <a:lnTo>
                      <a:pt x="292" y="264"/>
                    </a:lnTo>
                    <a:lnTo>
                      <a:pt x="292" y="320"/>
                    </a:lnTo>
                    <a:lnTo>
                      <a:pt x="304" y="328"/>
                    </a:lnTo>
                    <a:lnTo>
                      <a:pt x="296" y="372"/>
                    </a:lnTo>
                    <a:lnTo>
                      <a:pt x="56" y="400"/>
                    </a:lnTo>
                    <a:lnTo>
                      <a:pt x="52" y="336"/>
                    </a:lnTo>
                    <a:lnTo>
                      <a:pt x="12" y="312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19" name="Freeform 51"/>
              <p:cNvSpPr>
                <a:spLocks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5381018" y="4521200"/>
                <a:ext cx="779483" cy="612775"/>
              </a:xfrm>
              <a:custGeom>
                <a:avLst/>
                <a:gdLst>
                  <a:gd name="T0" fmla="*/ 0 w 449"/>
                  <a:gd name="T1" fmla="*/ 28 h 386"/>
                  <a:gd name="T2" fmla="*/ 262 w 449"/>
                  <a:gd name="T3" fmla="*/ 0 h 386"/>
                  <a:gd name="T4" fmla="*/ 289 w 449"/>
                  <a:gd name="T5" fmla="*/ 64 h 386"/>
                  <a:gd name="T6" fmla="*/ 236 w 449"/>
                  <a:gd name="T7" fmla="*/ 181 h 386"/>
                  <a:gd name="T8" fmla="*/ 241 w 449"/>
                  <a:gd name="T9" fmla="*/ 201 h 386"/>
                  <a:gd name="T10" fmla="*/ 398 w 449"/>
                  <a:gd name="T11" fmla="*/ 189 h 386"/>
                  <a:gd name="T12" fmla="*/ 407 w 449"/>
                  <a:gd name="T13" fmla="*/ 197 h 386"/>
                  <a:gd name="T14" fmla="*/ 398 w 449"/>
                  <a:gd name="T15" fmla="*/ 217 h 386"/>
                  <a:gd name="T16" fmla="*/ 420 w 449"/>
                  <a:gd name="T17" fmla="*/ 261 h 386"/>
                  <a:gd name="T18" fmla="*/ 411 w 449"/>
                  <a:gd name="T19" fmla="*/ 277 h 386"/>
                  <a:gd name="T20" fmla="*/ 420 w 449"/>
                  <a:gd name="T21" fmla="*/ 289 h 386"/>
                  <a:gd name="T22" fmla="*/ 446 w 449"/>
                  <a:gd name="T23" fmla="*/ 281 h 386"/>
                  <a:gd name="T24" fmla="*/ 455 w 449"/>
                  <a:gd name="T25" fmla="*/ 301 h 386"/>
                  <a:gd name="T26" fmla="*/ 442 w 449"/>
                  <a:gd name="T27" fmla="*/ 337 h 386"/>
                  <a:gd name="T28" fmla="*/ 490 w 449"/>
                  <a:gd name="T29" fmla="*/ 357 h 386"/>
                  <a:gd name="T30" fmla="*/ 459 w 449"/>
                  <a:gd name="T31" fmla="*/ 385 h 386"/>
                  <a:gd name="T32" fmla="*/ 459 w 449"/>
                  <a:gd name="T33" fmla="*/ 365 h 386"/>
                  <a:gd name="T34" fmla="*/ 416 w 449"/>
                  <a:gd name="T35" fmla="*/ 361 h 386"/>
                  <a:gd name="T36" fmla="*/ 402 w 449"/>
                  <a:gd name="T37" fmla="*/ 341 h 386"/>
                  <a:gd name="T38" fmla="*/ 394 w 449"/>
                  <a:gd name="T39" fmla="*/ 365 h 386"/>
                  <a:gd name="T40" fmla="*/ 359 w 449"/>
                  <a:gd name="T41" fmla="*/ 381 h 386"/>
                  <a:gd name="T42" fmla="*/ 293 w 449"/>
                  <a:gd name="T43" fmla="*/ 365 h 386"/>
                  <a:gd name="T44" fmla="*/ 306 w 449"/>
                  <a:gd name="T45" fmla="*/ 357 h 386"/>
                  <a:gd name="T46" fmla="*/ 258 w 449"/>
                  <a:gd name="T47" fmla="*/ 341 h 386"/>
                  <a:gd name="T48" fmla="*/ 227 w 449"/>
                  <a:gd name="T49" fmla="*/ 325 h 386"/>
                  <a:gd name="T50" fmla="*/ 210 w 449"/>
                  <a:gd name="T51" fmla="*/ 329 h 386"/>
                  <a:gd name="T52" fmla="*/ 214 w 449"/>
                  <a:gd name="T53" fmla="*/ 341 h 386"/>
                  <a:gd name="T54" fmla="*/ 140 w 449"/>
                  <a:gd name="T55" fmla="*/ 341 h 386"/>
                  <a:gd name="T56" fmla="*/ 83 w 449"/>
                  <a:gd name="T57" fmla="*/ 325 h 386"/>
                  <a:gd name="T58" fmla="*/ 48 w 449"/>
                  <a:gd name="T59" fmla="*/ 333 h 386"/>
                  <a:gd name="T60" fmla="*/ 48 w 449"/>
                  <a:gd name="T61" fmla="*/ 277 h 386"/>
                  <a:gd name="T62" fmla="*/ 66 w 449"/>
                  <a:gd name="T63" fmla="*/ 225 h 386"/>
                  <a:gd name="T64" fmla="*/ 31 w 449"/>
                  <a:gd name="T65" fmla="*/ 173 h 386"/>
                  <a:gd name="T66" fmla="*/ 22 w 449"/>
                  <a:gd name="T67" fmla="*/ 133 h 386"/>
                  <a:gd name="T68" fmla="*/ 9 w 449"/>
                  <a:gd name="T69" fmla="*/ 113 h 386"/>
                  <a:gd name="T70" fmla="*/ 0 w 449"/>
                  <a:gd name="T71" fmla="*/ 28 h 38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449"/>
                  <a:gd name="T109" fmla="*/ 0 h 386"/>
                  <a:gd name="T110" fmla="*/ 449 w 449"/>
                  <a:gd name="T111" fmla="*/ 386 h 38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449" h="386">
                    <a:moveTo>
                      <a:pt x="0" y="28"/>
                    </a:moveTo>
                    <a:lnTo>
                      <a:pt x="240" y="0"/>
                    </a:lnTo>
                    <a:lnTo>
                      <a:pt x="264" y="64"/>
                    </a:lnTo>
                    <a:lnTo>
                      <a:pt x="216" y="181"/>
                    </a:lnTo>
                    <a:lnTo>
                      <a:pt x="220" y="201"/>
                    </a:lnTo>
                    <a:lnTo>
                      <a:pt x="364" y="189"/>
                    </a:lnTo>
                    <a:lnTo>
                      <a:pt x="372" y="197"/>
                    </a:lnTo>
                    <a:lnTo>
                      <a:pt x="364" y="217"/>
                    </a:lnTo>
                    <a:lnTo>
                      <a:pt x="384" y="261"/>
                    </a:lnTo>
                    <a:lnTo>
                      <a:pt x="376" y="277"/>
                    </a:lnTo>
                    <a:lnTo>
                      <a:pt x="384" y="289"/>
                    </a:lnTo>
                    <a:lnTo>
                      <a:pt x="408" y="281"/>
                    </a:lnTo>
                    <a:lnTo>
                      <a:pt x="416" y="301"/>
                    </a:lnTo>
                    <a:lnTo>
                      <a:pt x="404" y="337"/>
                    </a:lnTo>
                    <a:lnTo>
                      <a:pt x="448" y="357"/>
                    </a:lnTo>
                    <a:lnTo>
                      <a:pt x="420" y="385"/>
                    </a:lnTo>
                    <a:lnTo>
                      <a:pt x="420" y="365"/>
                    </a:lnTo>
                    <a:lnTo>
                      <a:pt x="380" y="361"/>
                    </a:lnTo>
                    <a:lnTo>
                      <a:pt x="368" y="341"/>
                    </a:lnTo>
                    <a:lnTo>
                      <a:pt x="360" y="365"/>
                    </a:lnTo>
                    <a:lnTo>
                      <a:pt x="328" y="381"/>
                    </a:lnTo>
                    <a:lnTo>
                      <a:pt x="268" y="365"/>
                    </a:lnTo>
                    <a:lnTo>
                      <a:pt x="280" y="357"/>
                    </a:lnTo>
                    <a:lnTo>
                      <a:pt x="236" y="341"/>
                    </a:lnTo>
                    <a:lnTo>
                      <a:pt x="208" y="325"/>
                    </a:lnTo>
                    <a:lnTo>
                      <a:pt x="192" y="329"/>
                    </a:lnTo>
                    <a:lnTo>
                      <a:pt x="196" y="341"/>
                    </a:lnTo>
                    <a:lnTo>
                      <a:pt x="128" y="341"/>
                    </a:lnTo>
                    <a:lnTo>
                      <a:pt x="76" y="325"/>
                    </a:lnTo>
                    <a:lnTo>
                      <a:pt x="44" y="333"/>
                    </a:lnTo>
                    <a:lnTo>
                      <a:pt x="44" y="277"/>
                    </a:lnTo>
                    <a:lnTo>
                      <a:pt x="60" y="225"/>
                    </a:lnTo>
                    <a:lnTo>
                      <a:pt x="28" y="173"/>
                    </a:lnTo>
                    <a:lnTo>
                      <a:pt x="20" y="133"/>
                    </a:lnTo>
                    <a:lnTo>
                      <a:pt x="8" y="113"/>
                    </a:lnTo>
                    <a:lnTo>
                      <a:pt x="0" y="28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0" name="Freeform 52"/>
              <p:cNvSpPr>
                <a:spLocks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5757266" y="4140200"/>
                <a:ext cx="465150" cy="795338"/>
              </a:xfrm>
              <a:custGeom>
                <a:avLst/>
                <a:gdLst>
                  <a:gd name="T0" fmla="*/ 26 w 293"/>
                  <a:gd name="T1" fmla="*/ 240 h 501"/>
                  <a:gd name="T2" fmla="*/ 52 w 293"/>
                  <a:gd name="T3" fmla="*/ 304 h 501"/>
                  <a:gd name="T4" fmla="*/ 0 w 293"/>
                  <a:gd name="T5" fmla="*/ 421 h 501"/>
                  <a:gd name="T6" fmla="*/ 4 w 293"/>
                  <a:gd name="T7" fmla="*/ 441 h 501"/>
                  <a:gd name="T8" fmla="*/ 162 w 293"/>
                  <a:gd name="T9" fmla="*/ 429 h 501"/>
                  <a:gd name="T10" fmla="*/ 170 w 293"/>
                  <a:gd name="T11" fmla="*/ 437 h 501"/>
                  <a:gd name="T12" fmla="*/ 162 w 293"/>
                  <a:gd name="T13" fmla="*/ 457 h 501"/>
                  <a:gd name="T14" fmla="*/ 184 w 293"/>
                  <a:gd name="T15" fmla="*/ 501 h 501"/>
                  <a:gd name="T16" fmla="*/ 254 w 293"/>
                  <a:gd name="T17" fmla="*/ 473 h 501"/>
                  <a:gd name="T18" fmla="*/ 293 w 293"/>
                  <a:gd name="T19" fmla="*/ 476 h 501"/>
                  <a:gd name="T20" fmla="*/ 284 w 293"/>
                  <a:gd name="T21" fmla="*/ 417 h 501"/>
                  <a:gd name="T22" fmla="*/ 267 w 293"/>
                  <a:gd name="T23" fmla="*/ 308 h 501"/>
                  <a:gd name="T24" fmla="*/ 267 w 293"/>
                  <a:gd name="T25" fmla="*/ 0 h 501"/>
                  <a:gd name="T26" fmla="*/ 83 w 293"/>
                  <a:gd name="T27" fmla="*/ 24 h 501"/>
                  <a:gd name="T28" fmla="*/ 22 w 293"/>
                  <a:gd name="T29" fmla="*/ 132 h 501"/>
                  <a:gd name="T30" fmla="*/ 22 w 293"/>
                  <a:gd name="T31" fmla="*/ 188 h 501"/>
                  <a:gd name="T32" fmla="*/ 35 w 293"/>
                  <a:gd name="T33" fmla="*/ 196 h 501"/>
                  <a:gd name="T34" fmla="*/ 26 w 293"/>
                  <a:gd name="T35" fmla="*/ 240 h 501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293"/>
                  <a:gd name="T55" fmla="*/ 0 h 501"/>
                  <a:gd name="T56" fmla="*/ 293 w 293"/>
                  <a:gd name="T57" fmla="*/ 501 h 501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293" h="501">
                    <a:moveTo>
                      <a:pt x="26" y="240"/>
                    </a:moveTo>
                    <a:lnTo>
                      <a:pt x="52" y="304"/>
                    </a:lnTo>
                    <a:lnTo>
                      <a:pt x="0" y="421"/>
                    </a:lnTo>
                    <a:lnTo>
                      <a:pt x="4" y="441"/>
                    </a:lnTo>
                    <a:lnTo>
                      <a:pt x="162" y="429"/>
                    </a:lnTo>
                    <a:lnTo>
                      <a:pt x="170" y="437"/>
                    </a:lnTo>
                    <a:lnTo>
                      <a:pt x="162" y="457"/>
                    </a:lnTo>
                    <a:lnTo>
                      <a:pt x="184" y="501"/>
                    </a:lnTo>
                    <a:lnTo>
                      <a:pt x="254" y="473"/>
                    </a:lnTo>
                    <a:lnTo>
                      <a:pt x="293" y="476"/>
                    </a:lnTo>
                    <a:lnTo>
                      <a:pt x="284" y="417"/>
                    </a:lnTo>
                    <a:lnTo>
                      <a:pt x="267" y="308"/>
                    </a:lnTo>
                    <a:lnTo>
                      <a:pt x="267" y="0"/>
                    </a:lnTo>
                    <a:lnTo>
                      <a:pt x="83" y="24"/>
                    </a:lnTo>
                    <a:lnTo>
                      <a:pt x="22" y="132"/>
                    </a:lnTo>
                    <a:lnTo>
                      <a:pt x="22" y="188"/>
                    </a:lnTo>
                    <a:lnTo>
                      <a:pt x="35" y="196"/>
                    </a:lnTo>
                    <a:lnTo>
                      <a:pt x="26" y="240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1" name="Freeform 54"/>
              <p:cNvSpPr>
                <a:spLocks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5889032" y="3746500"/>
                <a:ext cx="1125567" cy="433388"/>
              </a:xfrm>
              <a:custGeom>
                <a:avLst/>
                <a:gdLst>
                  <a:gd name="T0" fmla="*/ 31 w 649"/>
                  <a:gd name="T1" fmla="*/ 160 h 273"/>
                  <a:gd name="T2" fmla="*/ 39 w 649"/>
                  <a:gd name="T3" fmla="*/ 116 h 273"/>
                  <a:gd name="T4" fmla="*/ 70 w 649"/>
                  <a:gd name="T5" fmla="*/ 104 h 273"/>
                  <a:gd name="T6" fmla="*/ 162 w 649"/>
                  <a:gd name="T7" fmla="*/ 92 h 273"/>
                  <a:gd name="T8" fmla="*/ 157 w 649"/>
                  <a:gd name="T9" fmla="*/ 76 h 273"/>
                  <a:gd name="T10" fmla="*/ 192 w 649"/>
                  <a:gd name="T11" fmla="*/ 80 h 273"/>
                  <a:gd name="T12" fmla="*/ 546 w 649"/>
                  <a:gd name="T13" fmla="*/ 28 h 273"/>
                  <a:gd name="T14" fmla="*/ 708 w 649"/>
                  <a:gd name="T15" fmla="*/ 0 h 273"/>
                  <a:gd name="T16" fmla="*/ 695 w 649"/>
                  <a:gd name="T17" fmla="*/ 28 h 273"/>
                  <a:gd name="T18" fmla="*/ 664 w 649"/>
                  <a:gd name="T19" fmla="*/ 40 h 273"/>
                  <a:gd name="T20" fmla="*/ 669 w 649"/>
                  <a:gd name="T21" fmla="*/ 52 h 273"/>
                  <a:gd name="T22" fmla="*/ 651 w 649"/>
                  <a:gd name="T23" fmla="*/ 60 h 273"/>
                  <a:gd name="T24" fmla="*/ 642 w 649"/>
                  <a:gd name="T25" fmla="*/ 60 h 273"/>
                  <a:gd name="T26" fmla="*/ 616 w 649"/>
                  <a:gd name="T27" fmla="*/ 68 h 273"/>
                  <a:gd name="T28" fmla="*/ 603 w 649"/>
                  <a:gd name="T29" fmla="*/ 92 h 273"/>
                  <a:gd name="T30" fmla="*/ 599 w 649"/>
                  <a:gd name="T31" fmla="*/ 116 h 273"/>
                  <a:gd name="T32" fmla="*/ 564 w 649"/>
                  <a:gd name="T33" fmla="*/ 136 h 273"/>
                  <a:gd name="T34" fmla="*/ 533 w 649"/>
                  <a:gd name="T35" fmla="*/ 148 h 273"/>
                  <a:gd name="T36" fmla="*/ 533 w 649"/>
                  <a:gd name="T37" fmla="*/ 168 h 273"/>
                  <a:gd name="T38" fmla="*/ 498 w 649"/>
                  <a:gd name="T39" fmla="*/ 176 h 273"/>
                  <a:gd name="T40" fmla="*/ 498 w 649"/>
                  <a:gd name="T41" fmla="*/ 204 h 273"/>
                  <a:gd name="T42" fmla="*/ 402 w 649"/>
                  <a:gd name="T43" fmla="*/ 216 h 273"/>
                  <a:gd name="T44" fmla="*/ 184 w 649"/>
                  <a:gd name="T45" fmla="*/ 248 h 273"/>
                  <a:gd name="T46" fmla="*/ 0 w 649"/>
                  <a:gd name="T47" fmla="*/ 272 h 273"/>
                  <a:gd name="T48" fmla="*/ 17 w 649"/>
                  <a:gd name="T49" fmla="*/ 244 h 273"/>
                  <a:gd name="T50" fmla="*/ 4 w 649"/>
                  <a:gd name="T51" fmla="*/ 244 h 273"/>
                  <a:gd name="T52" fmla="*/ 22 w 649"/>
                  <a:gd name="T53" fmla="*/ 228 h 273"/>
                  <a:gd name="T54" fmla="*/ 31 w 649"/>
                  <a:gd name="T55" fmla="*/ 160 h 273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649"/>
                  <a:gd name="T85" fmla="*/ 0 h 273"/>
                  <a:gd name="T86" fmla="*/ 649 w 649"/>
                  <a:gd name="T87" fmla="*/ 273 h 273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649" h="273">
                    <a:moveTo>
                      <a:pt x="28" y="160"/>
                    </a:moveTo>
                    <a:lnTo>
                      <a:pt x="36" y="116"/>
                    </a:lnTo>
                    <a:lnTo>
                      <a:pt x="64" y="104"/>
                    </a:lnTo>
                    <a:lnTo>
                      <a:pt x="148" y="92"/>
                    </a:lnTo>
                    <a:lnTo>
                      <a:pt x="144" y="76"/>
                    </a:lnTo>
                    <a:lnTo>
                      <a:pt x="176" y="80"/>
                    </a:lnTo>
                    <a:lnTo>
                      <a:pt x="500" y="28"/>
                    </a:lnTo>
                    <a:lnTo>
                      <a:pt x="648" y="0"/>
                    </a:lnTo>
                    <a:lnTo>
                      <a:pt x="636" y="28"/>
                    </a:lnTo>
                    <a:lnTo>
                      <a:pt x="608" y="40"/>
                    </a:lnTo>
                    <a:lnTo>
                      <a:pt x="612" y="52"/>
                    </a:lnTo>
                    <a:lnTo>
                      <a:pt x="596" y="60"/>
                    </a:lnTo>
                    <a:lnTo>
                      <a:pt x="588" y="60"/>
                    </a:lnTo>
                    <a:lnTo>
                      <a:pt x="564" y="68"/>
                    </a:lnTo>
                    <a:lnTo>
                      <a:pt x="552" y="92"/>
                    </a:lnTo>
                    <a:lnTo>
                      <a:pt x="548" y="116"/>
                    </a:lnTo>
                    <a:lnTo>
                      <a:pt x="516" y="136"/>
                    </a:lnTo>
                    <a:lnTo>
                      <a:pt x="488" y="148"/>
                    </a:lnTo>
                    <a:lnTo>
                      <a:pt x="488" y="168"/>
                    </a:lnTo>
                    <a:lnTo>
                      <a:pt x="456" y="176"/>
                    </a:lnTo>
                    <a:lnTo>
                      <a:pt x="456" y="204"/>
                    </a:lnTo>
                    <a:lnTo>
                      <a:pt x="368" y="216"/>
                    </a:lnTo>
                    <a:lnTo>
                      <a:pt x="168" y="248"/>
                    </a:lnTo>
                    <a:lnTo>
                      <a:pt x="0" y="272"/>
                    </a:lnTo>
                    <a:lnTo>
                      <a:pt x="16" y="244"/>
                    </a:lnTo>
                    <a:lnTo>
                      <a:pt x="4" y="244"/>
                    </a:lnTo>
                    <a:lnTo>
                      <a:pt x="20" y="228"/>
                    </a:lnTo>
                    <a:lnTo>
                      <a:pt x="28" y="160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2" name="Freeform 55"/>
              <p:cNvSpPr>
                <a:spLocks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6679627" y="3587750"/>
                <a:ext cx="1154143" cy="484188"/>
              </a:xfrm>
              <a:custGeom>
                <a:avLst/>
                <a:gdLst>
                  <a:gd name="T0" fmla="*/ 210 w 665"/>
                  <a:gd name="T1" fmla="*/ 100 h 305"/>
                  <a:gd name="T2" fmla="*/ 678 w 665"/>
                  <a:gd name="T3" fmla="*/ 0 h 305"/>
                  <a:gd name="T4" fmla="*/ 695 w 665"/>
                  <a:gd name="T5" fmla="*/ 36 h 305"/>
                  <a:gd name="T6" fmla="*/ 665 w 665"/>
                  <a:gd name="T7" fmla="*/ 40 h 305"/>
                  <a:gd name="T8" fmla="*/ 643 w 665"/>
                  <a:gd name="T9" fmla="*/ 64 h 305"/>
                  <a:gd name="T10" fmla="*/ 617 w 665"/>
                  <a:gd name="T11" fmla="*/ 48 h 305"/>
                  <a:gd name="T12" fmla="*/ 630 w 665"/>
                  <a:gd name="T13" fmla="*/ 68 h 305"/>
                  <a:gd name="T14" fmla="*/ 630 w 665"/>
                  <a:gd name="T15" fmla="*/ 84 h 305"/>
                  <a:gd name="T16" fmla="*/ 643 w 665"/>
                  <a:gd name="T17" fmla="*/ 68 h 305"/>
                  <a:gd name="T18" fmla="*/ 687 w 665"/>
                  <a:gd name="T19" fmla="*/ 56 h 305"/>
                  <a:gd name="T20" fmla="*/ 695 w 665"/>
                  <a:gd name="T21" fmla="*/ 72 h 305"/>
                  <a:gd name="T22" fmla="*/ 695 w 665"/>
                  <a:gd name="T23" fmla="*/ 52 h 305"/>
                  <a:gd name="T24" fmla="*/ 717 w 665"/>
                  <a:gd name="T25" fmla="*/ 56 h 305"/>
                  <a:gd name="T26" fmla="*/ 726 w 665"/>
                  <a:gd name="T27" fmla="*/ 84 h 305"/>
                  <a:gd name="T28" fmla="*/ 695 w 665"/>
                  <a:gd name="T29" fmla="*/ 120 h 305"/>
                  <a:gd name="T30" fmla="*/ 665 w 665"/>
                  <a:gd name="T31" fmla="*/ 120 h 305"/>
                  <a:gd name="T32" fmla="*/ 643 w 665"/>
                  <a:gd name="T33" fmla="*/ 132 h 305"/>
                  <a:gd name="T34" fmla="*/ 660 w 665"/>
                  <a:gd name="T35" fmla="*/ 148 h 305"/>
                  <a:gd name="T36" fmla="*/ 643 w 665"/>
                  <a:gd name="T37" fmla="*/ 172 h 305"/>
                  <a:gd name="T38" fmla="*/ 695 w 665"/>
                  <a:gd name="T39" fmla="*/ 156 h 305"/>
                  <a:gd name="T40" fmla="*/ 691 w 665"/>
                  <a:gd name="T41" fmla="*/ 176 h 305"/>
                  <a:gd name="T42" fmla="*/ 652 w 665"/>
                  <a:gd name="T43" fmla="*/ 216 h 305"/>
                  <a:gd name="T44" fmla="*/ 595 w 665"/>
                  <a:gd name="T45" fmla="*/ 232 h 305"/>
                  <a:gd name="T46" fmla="*/ 586 w 665"/>
                  <a:gd name="T47" fmla="*/ 288 h 305"/>
                  <a:gd name="T48" fmla="*/ 533 w 665"/>
                  <a:gd name="T49" fmla="*/ 292 h 305"/>
                  <a:gd name="T50" fmla="*/ 411 w 665"/>
                  <a:gd name="T51" fmla="*/ 236 h 305"/>
                  <a:gd name="T52" fmla="*/ 324 w 665"/>
                  <a:gd name="T53" fmla="*/ 252 h 305"/>
                  <a:gd name="T54" fmla="*/ 302 w 665"/>
                  <a:gd name="T55" fmla="*/ 244 h 305"/>
                  <a:gd name="T56" fmla="*/ 275 w 665"/>
                  <a:gd name="T57" fmla="*/ 248 h 305"/>
                  <a:gd name="T58" fmla="*/ 254 w 665"/>
                  <a:gd name="T59" fmla="*/ 244 h 305"/>
                  <a:gd name="T60" fmla="*/ 136 w 665"/>
                  <a:gd name="T61" fmla="*/ 268 h 305"/>
                  <a:gd name="T62" fmla="*/ 127 w 665"/>
                  <a:gd name="T63" fmla="*/ 280 h 305"/>
                  <a:gd name="T64" fmla="*/ 114 w 665"/>
                  <a:gd name="T65" fmla="*/ 284 h 305"/>
                  <a:gd name="T66" fmla="*/ 0 w 665"/>
                  <a:gd name="T67" fmla="*/ 304 h 305"/>
                  <a:gd name="T68" fmla="*/ 0 w 665"/>
                  <a:gd name="T69" fmla="*/ 276 h 305"/>
                  <a:gd name="T70" fmla="*/ 35 w 665"/>
                  <a:gd name="T71" fmla="*/ 268 h 305"/>
                  <a:gd name="T72" fmla="*/ 35 w 665"/>
                  <a:gd name="T73" fmla="*/ 248 h 305"/>
                  <a:gd name="T74" fmla="*/ 66 w 665"/>
                  <a:gd name="T75" fmla="*/ 236 h 305"/>
                  <a:gd name="T76" fmla="*/ 101 w 665"/>
                  <a:gd name="T77" fmla="*/ 216 h 305"/>
                  <a:gd name="T78" fmla="*/ 105 w 665"/>
                  <a:gd name="T79" fmla="*/ 192 h 305"/>
                  <a:gd name="T80" fmla="*/ 118 w 665"/>
                  <a:gd name="T81" fmla="*/ 168 h 305"/>
                  <a:gd name="T82" fmla="*/ 144 w 665"/>
                  <a:gd name="T83" fmla="*/ 160 h 305"/>
                  <a:gd name="T84" fmla="*/ 153 w 665"/>
                  <a:gd name="T85" fmla="*/ 160 h 305"/>
                  <a:gd name="T86" fmla="*/ 171 w 665"/>
                  <a:gd name="T87" fmla="*/ 152 h 305"/>
                  <a:gd name="T88" fmla="*/ 166 w 665"/>
                  <a:gd name="T89" fmla="*/ 140 h 305"/>
                  <a:gd name="T90" fmla="*/ 197 w 665"/>
                  <a:gd name="T91" fmla="*/ 128 h 305"/>
                  <a:gd name="T92" fmla="*/ 210 w 665"/>
                  <a:gd name="T93" fmla="*/ 100 h 305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665"/>
                  <a:gd name="T142" fmla="*/ 0 h 305"/>
                  <a:gd name="T143" fmla="*/ 665 w 665"/>
                  <a:gd name="T144" fmla="*/ 305 h 305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665" h="305">
                    <a:moveTo>
                      <a:pt x="192" y="100"/>
                    </a:moveTo>
                    <a:lnTo>
                      <a:pt x="620" y="0"/>
                    </a:lnTo>
                    <a:lnTo>
                      <a:pt x="636" y="36"/>
                    </a:lnTo>
                    <a:lnTo>
                      <a:pt x="608" y="40"/>
                    </a:lnTo>
                    <a:lnTo>
                      <a:pt x="588" y="64"/>
                    </a:lnTo>
                    <a:lnTo>
                      <a:pt x="564" y="48"/>
                    </a:lnTo>
                    <a:lnTo>
                      <a:pt x="576" y="68"/>
                    </a:lnTo>
                    <a:lnTo>
                      <a:pt x="576" y="84"/>
                    </a:lnTo>
                    <a:lnTo>
                      <a:pt x="588" y="68"/>
                    </a:lnTo>
                    <a:lnTo>
                      <a:pt x="628" y="56"/>
                    </a:lnTo>
                    <a:lnTo>
                      <a:pt x="636" y="72"/>
                    </a:lnTo>
                    <a:lnTo>
                      <a:pt x="636" y="52"/>
                    </a:lnTo>
                    <a:lnTo>
                      <a:pt x="656" y="56"/>
                    </a:lnTo>
                    <a:lnTo>
                      <a:pt x="664" y="84"/>
                    </a:lnTo>
                    <a:lnTo>
                      <a:pt x="636" y="120"/>
                    </a:lnTo>
                    <a:lnTo>
                      <a:pt x="608" y="120"/>
                    </a:lnTo>
                    <a:lnTo>
                      <a:pt x="588" y="132"/>
                    </a:lnTo>
                    <a:lnTo>
                      <a:pt x="604" y="148"/>
                    </a:lnTo>
                    <a:lnTo>
                      <a:pt x="588" y="172"/>
                    </a:lnTo>
                    <a:lnTo>
                      <a:pt x="636" y="156"/>
                    </a:lnTo>
                    <a:lnTo>
                      <a:pt x="632" y="176"/>
                    </a:lnTo>
                    <a:lnTo>
                      <a:pt x="596" y="216"/>
                    </a:lnTo>
                    <a:lnTo>
                      <a:pt x="544" y="232"/>
                    </a:lnTo>
                    <a:lnTo>
                      <a:pt x="536" y="288"/>
                    </a:lnTo>
                    <a:lnTo>
                      <a:pt x="488" y="292"/>
                    </a:lnTo>
                    <a:lnTo>
                      <a:pt x="376" y="236"/>
                    </a:lnTo>
                    <a:lnTo>
                      <a:pt x="296" y="252"/>
                    </a:lnTo>
                    <a:lnTo>
                      <a:pt x="276" y="244"/>
                    </a:lnTo>
                    <a:lnTo>
                      <a:pt x="252" y="248"/>
                    </a:lnTo>
                    <a:lnTo>
                      <a:pt x="232" y="244"/>
                    </a:lnTo>
                    <a:lnTo>
                      <a:pt x="124" y="268"/>
                    </a:lnTo>
                    <a:lnTo>
                      <a:pt x="116" y="280"/>
                    </a:lnTo>
                    <a:lnTo>
                      <a:pt x="104" y="284"/>
                    </a:lnTo>
                    <a:lnTo>
                      <a:pt x="0" y="304"/>
                    </a:lnTo>
                    <a:lnTo>
                      <a:pt x="0" y="276"/>
                    </a:lnTo>
                    <a:lnTo>
                      <a:pt x="32" y="268"/>
                    </a:lnTo>
                    <a:lnTo>
                      <a:pt x="32" y="248"/>
                    </a:lnTo>
                    <a:lnTo>
                      <a:pt x="60" y="236"/>
                    </a:lnTo>
                    <a:lnTo>
                      <a:pt x="92" y="216"/>
                    </a:lnTo>
                    <a:lnTo>
                      <a:pt x="96" y="192"/>
                    </a:lnTo>
                    <a:lnTo>
                      <a:pt x="108" y="168"/>
                    </a:lnTo>
                    <a:lnTo>
                      <a:pt x="132" y="160"/>
                    </a:lnTo>
                    <a:lnTo>
                      <a:pt x="140" y="160"/>
                    </a:lnTo>
                    <a:lnTo>
                      <a:pt x="156" y="152"/>
                    </a:lnTo>
                    <a:lnTo>
                      <a:pt x="152" y="140"/>
                    </a:lnTo>
                    <a:lnTo>
                      <a:pt x="180" y="128"/>
                    </a:lnTo>
                    <a:lnTo>
                      <a:pt x="192" y="100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3" name="Freeform 56"/>
              <p:cNvSpPr>
                <a:spLocks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6846319" y="3962400"/>
                <a:ext cx="682643" cy="484188"/>
              </a:xfrm>
              <a:custGeom>
                <a:avLst/>
                <a:gdLst>
                  <a:gd name="T0" fmla="*/ 429 w 393"/>
                  <a:gd name="T1" fmla="*/ 56 h 305"/>
                  <a:gd name="T2" fmla="*/ 306 w 393"/>
                  <a:gd name="T3" fmla="*/ 0 h 305"/>
                  <a:gd name="T4" fmla="*/ 219 w 393"/>
                  <a:gd name="T5" fmla="*/ 16 h 305"/>
                  <a:gd name="T6" fmla="*/ 197 w 393"/>
                  <a:gd name="T7" fmla="*/ 8 h 305"/>
                  <a:gd name="T8" fmla="*/ 171 w 393"/>
                  <a:gd name="T9" fmla="*/ 12 h 305"/>
                  <a:gd name="T10" fmla="*/ 149 w 393"/>
                  <a:gd name="T11" fmla="*/ 8 h 305"/>
                  <a:gd name="T12" fmla="*/ 31 w 393"/>
                  <a:gd name="T13" fmla="*/ 32 h 305"/>
                  <a:gd name="T14" fmla="*/ 22 w 393"/>
                  <a:gd name="T15" fmla="*/ 44 h 305"/>
                  <a:gd name="T16" fmla="*/ 9 w 393"/>
                  <a:gd name="T17" fmla="*/ 48 h 305"/>
                  <a:gd name="T18" fmla="*/ 0 w 393"/>
                  <a:gd name="T19" fmla="*/ 76 h 305"/>
                  <a:gd name="T20" fmla="*/ 48 w 393"/>
                  <a:gd name="T21" fmla="*/ 112 h 305"/>
                  <a:gd name="T22" fmla="*/ 61 w 393"/>
                  <a:gd name="T23" fmla="*/ 140 h 305"/>
                  <a:gd name="T24" fmla="*/ 166 w 393"/>
                  <a:gd name="T25" fmla="*/ 212 h 305"/>
                  <a:gd name="T26" fmla="*/ 236 w 393"/>
                  <a:gd name="T27" fmla="*/ 288 h 305"/>
                  <a:gd name="T28" fmla="*/ 263 w 393"/>
                  <a:gd name="T29" fmla="*/ 304 h 305"/>
                  <a:gd name="T30" fmla="*/ 254 w 393"/>
                  <a:gd name="T31" fmla="*/ 264 h 305"/>
                  <a:gd name="T32" fmla="*/ 280 w 393"/>
                  <a:gd name="T33" fmla="*/ 280 h 305"/>
                  <a:gd name="T34" fmla="*/ 289 w 393"/>
                  <a:gd name="T35" fmla="*/ 272 h 305"/>
                  <a:gd name="T36" fmla="*/ 284 w 393"/>
                  <a:gd name="T37" fmla="*/ 256 h 305"/>
                  <a:gd name="T38" fmla="*/ 306 w 393"/>
                  <a:gd name="T39" fmla="*/ 256 h 305"/>
                  <a:gd name="T40" fmla="*/ 372 w 393"/>
                  <a:gd name="T41" fmla="*/ 192 h 305"/>
                  <a:gd name="T42" fmla="*/ 429 w 393"/>
                  <a:gd name="T43" fmla="*/ 56 h 305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393"/>
                  <a:gd name="T67" fmla="*/ 0 h 305"/>
                  <a:gd name="T68" fmla="*/ 393 w 393"/>
                  <a:gd name="T69" fmla="*/ 305 h 305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393" h="305">
                    <a:moveTo>
                      <a:pt x="392" y="56"/>
                    </a:moveTo>
                    <a:lnTo>
                      <a:pt x="280" y="0"/>
                    </a:lnTo>
                    <a:lnTo>
                      <a:pt x="200" y="16"/>
                    </a:lnTo>
                    <a:lnTo>
                      <a:pt x="180" y="8"/>
                    </a:lnTo>
                    <a:lnTo>
                      <a:pt x="156" y="12"/>
                    </a:lnTo>
                    <a:lnTo>
                      <a:pt x="136" y="8"/>
                    </a:lnTo>
                    <a:lnTo>
                      <a:pt x="28" y="32"/>
                    </a:lnTo>
                    <a:lnTo>
                      <a:pt x="20" y="44"/>
                    </a:lnTo>
                    <a:lnTo>
                      <a:pt x="8" y="48"/>
                    </a:lnTo>
                    <a:lnTo>
                      <a:pt x="0" y="76"/>
                    </a:lnTo>
                    <a:lnTo>
                      <a:pt x="44" y="112"/>
                    </a:lnTo>
                    <a:lnTo>
                      <a:pt x="56" y="140"/>
                    </a:lnTo>
                    <a:lnTo>
                      <a:pt x="152" y="212"/>
                    </a:lnTo>
                    <a:lnTo>
                      <a:pt x="216" y="288"/>
                    </a:lnTo>
                    <a:lnTo>
                      <a:pt x="240" y="304"/>
                    </a:lnTo>
                    <a:lnTo>
                      <a:pt x="232" y="264"/>
                    </a:lnTo>
                    <a:lnTo>
                      <a:pt x="256" y="280"/>
                    </a:lnTo>
                    <a:lnTo>
                      <a:pt x="264" y="272"/>
                    </a:lnTo>
                    <a:lnTo>
                      <a:pt x="260" y="256"/>
                    </a:lnTo>
                    <a:lnTo>
                      <a:pt x="280" y="256"/>
                    </a:lnTo>
                    <a:lnTo>
                      <a:pt x="340" y="192"/>
                    </a:lnTo>
                    <a:lnTo>
                      <a:pt x="392" y="56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4" name="Freeform 57"/>
              <p:cNvSpPr>
                <a:spLocks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6527223" y="4038600"/>
                <a:ext cx="738207" cy="733425"/>
              </a:xfrm>
              <a:custGeom>
                <a:avLst/>
                <a:gdLst>
                  <a:gd name="T0" fmla="*/ 438 w 425"/>
                  <a:gd name="T1" fmla="*/ 429 h 462"/>
                  <a:gd name="T2" fmla="*/ 416 w 425"/>
                  <a:gd name="T3" fmla="*/ 421 h 462"/>
                  <a:gd name="T4" fmla="*/ 398 w 425"/>
                  <a:gd name="T5" fmla="*/ 413 h 462"/>
                  <a:gd name="T6" fmla="*/ 394 w 425"/>
                  <a:gd name="T7" fmla="*/ 445 h 462"/>
                  <a:gd name="T8" fmla="*/ 385 w 425"/>
                  <a:gd name="T9" fmla="*/ 445 h 462"/>
                  <a:gd name="T10" fmla="*/ 372 w 425"/>
                  <a:gd name="T11" fmla="*/ 433 h 462"/>
                  <a:gd name="T12" fmla="*/ 123 w 425"/>
                  <a:gd name="T13" fmla="*/ 461 h 462"/>
                  <a:gd name="T14" fmla="*/ 109 w 425"/>
                  <a:gd name="T15" fmla="*/ 437 h 462"/>
                  <a:gd name="T16" fmla="*/ 88 w 425"/>
                  <a:gd name="T17" fmla="*/ 400 h 462"/>
                  <a:gd name="T18" fmla="*/ 88 w 425"/>
                  <a:gd name="T19" fmla="*/ 356 h 462"/>
                  <a:gd name="T20" fmla="*/ 92 w 425"/>
                  <a:gd name="T21" fmla="*/ 316 h 462"/>
                  <a:gd name="T22" fmla="*/ 0 w 425"/>
                  <a:gd name="T23" fmla="*/ 32 h 462"/>
                  <a:gd name="T24" fmla="*/ 96 w 425"/>
                  <a:gd name="T25" fmla="*/ 20 h 462"/>
                  <a:gd name="T26" fmla="*/ 210 w 425"/>
                  <a:gd name="T27" fmla="*/ 0 h 462"/>
                  <a:gd name="T28" fmla="*/ 201 w 425"/>
                  <a:gd name="T29" fmla="*/ 28 h 462"/>
                  <a:gd name="T30" fmla="*/ 249 w 425"/>
                  <a:gd name="T31" fmla="*/ 64 h 462"/>
                  <a:gd name="T32" fmla="*/ 263 w 425"/>
                  <a:gd name="T33" fmla="*/ 92 h 462"/>
                  <a:gd name="T34" fmla="*/ 368 w 425"/>
                  <a:gd name="T35" fmla="*/ 164 h 462"/>
                  <a:gd name="T36" fmla="*/ 438 w 425"/>
                  <a:gd name="T37" fmla="*/ 240 h 462"/>
                  <a:gd name="T38" fmla="*/ 464 w 425"/>
                  <a:gd name="T39" fmla="*/ 256 h 462"/>
                  <a:gd name="T40" fmla="*/ 442 w 425"/>
                  <a:gd name="T41" fmla="*/ 316 h 462"/>
                  <a:gd name="T42" fmla="*/ 442 w 425"/>
                  <a:gd name="T43" fmla="*/ 360 h 462"/>
                  <a:gd name="T44" fmla="*/ 433 w 425"/>
                  <a:gd name="T45" fmla="*/ 376 h 462"/>
                  <a:gd name="T46" fmla="*/ 438 w 425"/>
                  <a:gd name="T47" fmla="*/ 429 h 462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425"/>
                  <a:gd name="T73" fmla="*/ 0 h 462"/>
                  <a:gd name="T74" fmla="*/ 425 w 425"/>
                  <a:gd name="T75" fmla="*/ 462 h 462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425" h="462">
                    <a:moveTo>
                      <a:pt x="400" y="429"/>
                    </a:moveTo>
                    <a:lnTo>
                      <a:pt x="380" y="421"/>
                    </a:lnTo>
                    <a:lnTo>
                      <a:pt x="364" y="413"/>
                    </a:lnTo>
                    <a:lnTo>
                      <a:pt x="360" y="445"/>
                    </a:lnTo>
                    <a:lnTo>
                      <a:pt x="352" y="445"/>
                    </a:lnTo>
                    <a:lnTo>
                      <a:pt x="340" y="433"/>
                    </a:lnTo>
                    <a:lnTo>
                      <a:pt x="112" y="461"/>
                    </a:lnTo>
                    <a:lnTo>
                      <a:pt x="100" y="437"/>
                    </a:lnTo>
                    <a:lnTo>
                      <a:pt x="80" y="400"/>
                    </a:lnTo>
                    <a:lnTo>
                      <a:pt x="80" y="356"/>
                    </a:lnTo>
                    <a:lnTo>
                      <a:pt x="84" y="316"/>
                    </a:lnTo>
                    <a:lnTo>
                      <a:pt x="0" y="32"/>
                    </a:lnTo>
                    <a:lnTo>
                      <a:pt x="88" y="20"/>
                    </a:lnTo>
                    <a:lnTo>
                      <a:pt x="192" y="0"/>
                    </a:lnTo>
                    <a:lnTo>
                      <a:pt x="184" y="28"/>
                    </a:lnTo>
                    <a:lnTo>
                      <a:pt x="228" y="64"/>
                    </a:lnTo>
                    <a:lnTo>
                      <a:pt x="240" y="92"/>
                    </a:lnTo>
                    <a:lnTo>
                      <a:pt x="336" y="164"/>
                    </a:lnTo>
                    <a:lnTo>
                      <a:pt x="400" y="240"/>
                    </a:lnTo>
                    <a:lnTo>
                      <a:pt x="424" y="256"/>
                    </a:lnTo>
                    <a:lnTo>
                      <a:pt x="404" y="316"/>
                    </a:lnTo>
                    <a:lnTo>
                      <a:pt x="404" y="360"/>
                    </a:lnTo>
                    <a:lnTo>
                      <a:pt x="396" y="376"/>
                    </a:lnTo>
                    <a:lnTo>
                      <a:pt x="400" y="429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5" name="Freeform 59"/>
              <p:cNvSpPr>
                <a:spLocks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033195" y="2952750"/>
                <a:ext cx="1100166" cy="503238"/>
              </a:xfrm>
              <a:custGeom>
                <a:avLst/>
                <a:gdLst>
                  <a:gd name="T0" fmla="*/ 9 w 634"/>
                  <a:gd name="T1" fmla="*/ 0 h 317"/>
                  <a:gd name="T2" fmla="*/ 162 w 634"/>
                  <a:gd name="T3" fmla="*/ 8 h 317"/>
                  <a:gd name="T4" fmla="*/ 424 w 634"/>
                  <a:gd name="T5" fmla="*/ 8 h 317"/>
                  <a:gd name="T6" fmla="*/ 468 w 634"/>
                  <a:gd name="T7" fmla="*/ 24 h 317"/>
                  <a:gd name="T8" fmla="*/ 503 w 634"/>
                  <a:gd name="T9" fmla="*/ 28 h 317"/>
                  <a:gd name="T10" fmla="*/ 542 w 634"/>
                  <a:gd name="T11" fmla="*/ 20 h 317"/>
                  <a:gd name="T12" fmla="*/ 569 w 634"/>
                  <a:gd name="T13" fmla="*/ 36 h 317"/>
                  <a:gd name="T14" fmla="*/ 591 w 634"/>
                  <a:gd name="T15" fmla="*/ 64 h 317"/>
                  <a:gd name="T16" fmla="*/ 657 w 634"/>
                  <a:gd name="T17" fmla="*/ 244 h 317"/>
                  <a:gd name="T18" fmla="*/ 692 w 634"/>
                  <a:gd name="T19" fmla="*/ 304 h 317"/>
                  <a:gd name="T20" fmla="*/ 149 w 634"/>
                  <a:gd name="T21" fmla="*/ 316 h 317"/>
                  <a:gd name="T22" fmla="*/ 149 w 634"/>
                  <a:gd name="T23" fmla="*/ 204 h 317"/>
                  <a:gd name="T24" fmla="*/ 0 w 634"/>
                  <a:gd name="T25" fmla="*/ 204 h 317"/>
                  <a:gd name="T26" fmla="*/ 9 w 634"/>
                  <a:gd name="T27" fmla="*/ 0 h 31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634"/>
                  <a:gd name="T43" fmla="*/ 0 h 317"/>
                  <a:gd name="T44" fmla="*/ 634 w 634"/>
                  <a:gd name="T45" fmla="*/ 317 h 317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634" h="317">
                    <a:moveTo>
                      <a:pt x="8" y="0"/>
                    </a:moveTo>
                    <a:lnTo>
                      <a:pt x="148" y="8"/>
                    </a:lnTo>
                    <a:lnTo>
                      <a:pt x="388" y="8"/>
                    </a:lnTo>
                    <a:lnTo>
                      <a:pt x="428" y="24"/>
                    </a:lnTo>
                    <a:lnTo>
                      <a:pt x="460" y="28"/>
                    </a:lnTo>
                    <a:lnTo>
                      <a:pt x="496" y="20"/>
                    </a:lnTo>
                    <a:lnTo>
                      <a:pt x="521" y="36"/>
                    </a:lnTo>
                    <a:lnTo>
                      <a:pt x="541" y="64"/>
                    </a:lnTo>
                    <a:lnTo>
                      <a:pt x="601" y="244"/>
                    </a:lnTo>
                    <a:lnTo>
                      <a:pt x="633" y="304"/>
                    </a:lnTo>
                    <a:lnTo>
                      <a:pt x="136" y="316"/>
                    </a:lnTo>
                    <a:lnTo>
                      <a:pt x="136" y="204"/>
                    </a:lnTo>
                    <a:lnTo>
                      <a:pt x="0" y="204"/>
                    </a:lnTo>
                    <a:lnTo>
                      <a:pt x="8" y="0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6" name="Freeform 60"/>
              <p:cNvSpPr>
                <a:spLocks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268152" y="3435350"/>
                <a:ext cx="1003326" cy="496888"/>
              </a:xfrm>
              <a:custGeom>
                <a:avLst/>
                <a:gdLst>
                  <a:gd name="T0" fmla="*/ 0 w 578"/>
                  <a:gd name="T1" fmla="*/ 12 h 313"/>
                  <a:gd name="T2" fmla="*/ 0 w 578"/>
                  <a:gd name="T3" fmla="*/ 312 h 313"/>
                  <a:gd name="T4" fmla="*/ 421 w 578"/>
                  <a:gd name="T5" fmla="*/ 312 h 313"/>
                  <a:gd name="T6" fmla="*/ 631 w 578"/>
                  <a:gd name="T7" fmla="*/ 292 h 313"/>
                  <a:gd name="T8" fmla="*/ 600 w 578"/>
                  <a:gd name="T9" fmla="*/ 80 h 313"/>
                  <a:gd name="T10" fmla="*/ 578 w 578"/>
                  <a:gd name="T11" fmla="*/ 44 h 313"/>
                  <a:gd name="T12" fmla="*/ 574 w 578"/>
                  <a:gd name="T13" fmla="*/ 20 h 313"/>
                  <a:gd name="T14" fmla="*/ 552 w 578"/>
                  <a:gd name="T15" fmla="*/ 20 h 313"/>
                  <a:gd name="T16" fmla="*/ 543 w 578"/>
                  <a:gd name="T17" fmla="*/ 0 h 313"/>
                  <a:gd name="T18" fmla="*/ 0 w 578"/>
                  <a:gd name="T19" fmla="*/ 12 h 31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78"/>
                  <a:gd name="T31" fmla="*/ 0 h 313"/>
                  <a:gd name="T32" fmla="*/ 578 w 578"/>
                  <a:gd name="T33" fmla="*/ 313 h 31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78" h="313">
                    <a:moveTo>
                      <a:pt x="0" y="12"/>
                    </a:moveTo>
                    <a:lnTo>
                      <a:pt x="0" y="312"/>
                    </a:lnTo>
                    <a:lnTo>
                      <a:pt x="385" y="312"/>
                    </a:lnTo>
                    <a:lnTo>
                      <a:pt x="577" y="292"/>
                    </a:lnTo>
                    <a:lnTo>
                      <a:pt x="549" y="80"/>
                    </a:lnTo>
                    <a:lnTo>
                      <a:pt x="529" y="44"/>
                    </a:lnTo>
                    <a:lnTo>
                      <a:pt x="525" y="20"/>
                    </a:lnTo>
                    <a:lnTo>
                      <a:pt x="505" y="20"/>
                    </a:lnTo>
                    <a:lnTo>
                      <a:pt x="497" y="0"/>
                    </a:lnTo>
                    <a:lnTo>
                      <a:pt x="0" y="12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7" name="Freeform 61"/>
              <p:cNvSpPr>
                <a:spLocks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950794" y="2825750"/>
                <a:ext cx="779483" cy="522288"/>
              </a:xfrm>
              <a:custGeom>
                <a:avLst/>
                <a:gdLst>
                  <a:gd name="T0" fmla="*/ 13 w 449"/>
                  <a:gd name="T1" fmla="*/ 24 h 329"/>
                  <a:gd name="T2" fmla="*/ 407 w 449"/>
                  <a:gd name="T3" fmla="*/ 0 h 329"/>
                  <a:gd name="T4" fmla="*/ 420 w 449"/>
                  <a:gd name="T5" fmla="*/ 8 h 329"/>
                  <a:gd name="T6" fmla="*/ 411 w 449"/>
                  <a:gd name="T7" fmla="*/ 56 h 329"/>
                  <a:gd name="T8" fmla="*/ 429 w 449"/>
                  <a:gd name="T9" fmla="*/ 80 h 329"/>
                  <a:gd name="T10" fmla="*/ 468 w 449"/>
                  <a:gd name="T11" fmla="*/ 100 h 329"/>
                  <a:gd name="T12" fmla="*/ 490 w 449"/>
                  <a:gd name="T13" fmla="*/ 124 h 329"/>
                  <a:gd name="T14" fmla="*/ 490 w 449"/>
                  <a:gd name="T15" fmla="*/ 160 h 329"/>
                  <a:gd name="T16" fmla="*/ 477 w 449"/>
                  <a:gd name="T17" fmla="*/ 184 h 329"/>
                  <a:gd name="T18" fmla="*/ 442 w 449"/>
                  <a:gd name="T19" fmla="*/ 192 h 329"/>
                  <a:gd name="T20" fmla="*/ 446 w 449"/>
                  <a:gd name="T21" fmla="*/ 232 h 329"/>
                  <a:gd name="T22" fmla="*/ 429 w 449"/>
                  <a:gd name="T23" fmla="*/ 264 h 329"/>
                  <a:gd name="T24" fmla="*/ 429 w 449"/>
                  <a:gd name="T25" fmla="*/ 328 h 329"/>
                  <a:gd name="T26" fmla="*/ 398 w 449"/>
                  <a:gd name="T27" fmla="*/ 296 h 329"/>
                  <a:gd name="T28" fmla="*/ 79 w 449"/>
                  <a:gd name="T29" fmla="*/ 324 h 329"/>
                  <a:gd name="T30" fmla="*/ 13 w 449"/>
                  <a:gd name="T31" fmla="*/ 144 h 329"/>
                  <a:gd name="T32" fmla="*/ 13 w 449"/>
                  <a:gd name="T33" fmla="*/ 60 h 329"/>
                  <a:gd name="T34" fmla="*/ 0 w 449"/>
                  <a:gd name="T35" fmla="*/ 48 h 329"/>
                  <a:gd name="T36" fmla="*/ 13 w 449"/>
                  <a:gd name="T37" fmla="*/ 24 h 329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449"/>
                  <a:gd name="T58" fmla="*/ 0 h 329"/>
                  <a:gd name="T59" fmla="*/ 449 w 449"/>
                  <a:gd name="T60" fmla="*/ 329 h 329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449" h="329">
                    <a:moveTo>
                      <a:pt x="12" y="24"/>
                    </a:moveTo>
                    <a:lnTo>
                      <a:pt x="372" y="0"/>
                    </a:lnTo>
                    <a:lnTo>
                      <a:pt x="384" y="8"/>
                    </a:lnTo>
                    <a:lnTo>
                      <a:pt x="376" y="56"/>
                    </a:lnTo>
                    <a:lnTo>
                      <a:pt x="392" y="80"/>
                    </a:lnTo>
                    <a:lnTo>
                      <a:pt x="428" y="100"/>
                    </a:lnTo>
                    <a:lnTo>
                      <a:pt x="448" y="124"/>
                    </a:lnTo>
                    <a:lnTo>
                      <a:pt x="448" y="160"/>
                    </a:lnTo>
                    <a:lnTo>
                      <a:pt x="436" y="184"/>
                    </a:lnTo>
                    <a:lnTo>
                      <a:pt x="404" y="192"/>
                    </a:lnTo>
                    <a:lnTo>
                      <a:pt x="408" y="232"/>
                    </a:lnTo>
                    <a:lnTo>
                      <a:pt x="392" y="264"/>
                    </a:lnTo>
                    <a:lnTo>
                      <a:pt x="392" y="328"/>
                    </a:lnTo>
                    <a:lnTo>
                      <a:pt x="364" y="296"/>
                    </a:lnTo>
                    <a:lnTo>
                      <a:pt x="72" y="324"/>
                    </a:lnTo>
                    <a:lnTo>
                      <a:pt x="12" y="144"/>
                    </a:lnTo>
                    <a:lnTo>
                      <a:pt x="12" y="60"/>
                    </a:lnTo>
                    <a:lnTo>
                      <a:pt x="0" y="48"/>
                    </a:lnTo>
                    <a:lnTo>
                      <a:pt x="12" y="24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8" name="Freeform 62"/>
              <p:cNvSpPr>
                <a:spLocks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5631850" y="2921000"/>
                <a:ext cx="549289" cy="928688"/>
              </a:xfrm>
              <a:custGeom>
                <a:avLst/>
                <a:gdLst>
                  <a:gd name="T0" fmla="*/ 39 w 317"/>
                  <a:gd name="T1" fmla="*/ 40 h 585"/>
                  <a:gd name="T2" fmla="*/ 258 w 317"/>
                  <a:gd name="T3" fmla="*/ 0 h 585"/>
                  <a:gd name="T4" fmla="*/ 258 w 317"/>
                  <a:gd name="T5" fmla="*/ 24 h 585"/>
                  <a:gd name="T6" fmla="*/ 279 w 317"/>
                  <a:gd name="T7" fmla="*/ 60 h 585"/>
                  <a:gd name="T8" fmla="*/ 288 w 317"/>
                  <a:gd name="T9" fmla="*/ 92 h 585"/>
                  <a:gd name="T10" fmla="*/ 332 w 317"/>
                  <a:gd name="T11" fmla="*/ 324 h 585"/>
                  <a:gd name="T12" fmla="*/ 323 w 317"/>
                  <a:gd name="T13" fmla="*/ 352 h 585"/>
                  <a:gd name="T14" fmla="*/ 345 w 317"/>
                  <a:gd name="T15" fmla="*/ 376 h 585"/>
                  <a:gd name="T16" fmla="*/ 310 w 317"/>
                  <a:gd name="T17" fmla="*/ 484 h 585"/>
                  <a:gd name="T18" fmla="*/ 284 w 317"/>
                  <a:gd name="T19" fmla="*/ 524 h 585"/>
                  <a:gd name="T20" fmla="*/ 297 w 317"/>
                  <a:gd name="T21" fmla="*/ 536 h 585"/>
                  <a:gd name="T22" fmla="*/ 275 w 317"/>
                  <a:gd name="T23" fmla="*/ 548 h 585"/>
                  <a:gd name="T24" fmla="*/ 279 w 317"/>
                  <a:gd name="T25" fmla="*/ 568 h 585"/>
                  <a:gd name="T26" fmla="*/ 223 w 317"/>
                  <a:gd name="T27" fmla="*/ 568 h 585"/>
                  <a:gd name="T28" fmla="*/ 210 w 317"/>
                  <a:gd name="T29" fmla="*/ 584 h 585"/>
                  <a:gd name="T30" fmla="*/ 188 w 317"/>
                  <a:gd name="T31" fmla="*/ 572 h 585"/>
                  <a:gd name="T32" fmla="*/ 166 w 317"/>
                  <a:gd name="T33" fmla="*/ 532 h 585"/>
                  <a:gd name="T34" fmla="*/ 114 w 317"/>
                  <a:gd name="T35" fmla="*/ 484 h 585"/>
                  <a:gd name="T36" fmla="*/ 122 w 317"/>
                  <a:gd name="T37" fmla="*/ 412 h 585"/>
                  <a:gd name="T38" fmla="*/ 70 w 317"/>
                  <a:gd name="T39" fmla="*/ 384 h 585"/>
                  <a:gd name="T40" fmla="*/ 31 w 317"/>
                  <a:gd name="T41" fmla="*/ 340 h 585"/>
                  <a:gd name="T42" fmla="*/ 0 w 317"/>
                  <a:gd name="T43" fmla="*/ 268 h 585"/>
                  <a:gd name="T44" fmla="*/ 0 w 317"/>
                  <a:gd name="T45" fmla="*/ 204 h 585"/>
                  <a:gd name="T46" fmla="*/ 17 w 317"/>
                  <a:gd name="T47" fmla="*/ 172 h 585"/>
                  <a:gd name="T48" fmla="*/ 13 w 317"/>
                  <a:gd name="T49" fmla="*/ 132 h 585"/>
                  <a:gd name="T50" fmla="*/ 48 w 317"/>
                  <a:gd name="T51" fmla="*/ 124 h 585"/>
                  <a:gd name="T52" fmla="*/ 61 w 317"/>
                  <a:gd name="T53" fmla="*/ 100 h 585"/>
                  <a:gd name="T54" fmla="*/ 61 w 317"/>
                  <a:gd name="T55" fmla="*/ 64 h 585"/>
                  <a:gd name="T56" fmla="*/ 39 w 317"/>
                  <a:gd name="T57" fmla="*/ 40 h 585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317"/>
                  <a:gd name="T88" fmla="*/ 0 h 585"/>
                  <a:gd name="T89" fmla="*/ 317 w 317"/>
                  <a:gd name="T90" fmla="*/ 585 h 585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317" h="585">
                    <a:moveTo>
                      <a:pt x="36" y="40"/>
                    </a:moveTo>
                    <a:lnTo>
                      <a:pt x="236" y="0"/>
                    </a:lnTo>
                    <a:lnTo>
                      <a:pt x="236" y="24"/>
                    </a:lnTo>
                    <a:lnTo>
                      <a:pt x="256" y="60"/>
                    </a:lnTo>
                    <a:lnTo>
                      <a:pt x="264" y="92"/>
                    </a:lnTo>
                    <a:lnTo>
                      <a:pt x="304" y="324"/>
                    </a:lnTo>
                    <a:lnTo>
                      <a:pt x="296" y="352"/>
                    </a:lnTo>
                    <a:lnTo>
                      <a:pt x="316" y="376"/>
                    </a:lnTo>
                    <a:lnTo>
                      <a:pt x="284" y="484"/>
                    </a:lnTo>
                    <a:lnTo>
                      <a:pt x="260" y="524"/>
                    </a:lnTo>
                    <a:lnTo>
                      <a:pt x="272" y="536"/>
                    </a:lnTo>
                    <a:lnTo>
                      <a:pt x="252" y="548"/>
                    </a:lnTo>
                    <a:lnTo>
                      <a:pt x="256" y="568"/>
                    </a:lnTo>
                    <a:lnTo>
                      <a:pt x="204" y="568"/>
                    </a:lnTo>
                    <a:lnTo>
                      <a:pt x="192" y="584"/>
                    </a:lnTo>
                    <a:lnTo>
                      <a:pt x="172" y="572"/>
                    </a:lnTo>
                    <a:lnTo>
                      <a:pt x="152" y="532"/>
                    </a:lnTo>
                    <a:lnTo>
                      <a:pt x="104" y="484"/>
                    </a:lnTo>
                    <a:lnTo>
                      <a:pt x="112" y="412"/>
                    </a:lnTo>
                    <a:lnTo>
                      <a:pt x="64" y="384"/>
                    </a:lnTo>
                    <a:lnTo>
                      <a:pt x="28" y="340"/>
                    </a:lnTo>
                    <a:lnTo>
                      <a:pt x="0" y="268"/>
                    </a:lnTo>
                    <a:lnTo>
                      <a:pt x="0" y="204"/>
                    </a:lnTo>
                    <a:lnTo>
                      <a:pt x="16" y="172"/>
                    </a:lnTo>
                    <a:lnTo>
                      <a:pt x="12" y="132"/>
                    </a:lnTo>
                    <a:lnTo>
                      <a:pt x="44" y="124"/>
                    </a:lnTo>
                    <a:lnTo>
                      <a:pt x="56" y="100"/>
                    </a:lnTo>
                    <a:lnTo>
                      <a:pt x="56" y="64"/>
                    </a:lnTo>
                    <a:lnTo>
                      <a:pt x="36" y="40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9" name="Freeform 63"/>
              <p:cNvSpPr>
                <a:spLocks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5076210" y="3295650"/>
                <a:ext cx="931887" cy="706438"/>
              </a:xfrm>
              <a:custGeom>
                <a:avLst/>
                <a:gdLst>
                  <a:gd name="T0" fmla="*/ 131 w 537"/>
                  <a:gd name="T1" fmla="*/ 428 h 445"/>
                  <a:gd name="T2" fmla="*/ 289 w 537"/>
                  <a:gd name="T3" fmla="*/ 420 h 445"/>
                  <a:gd name="T4" fmla="*/ 512 w 537"/>
                  <a:gd name="T5" fmla="*/ 400 h 445"/>
                  <a:gd name="T6" fmla="*/ 498 w 537"/>
                  <a:gd name="T7" fmla="*/ 444 h 445"/>
                  <a:gd name="T8" fmla="*/ 542 w 537"/>
                  <a:gd name="T9" fmla="*/ 444 h 445"/>
                  <a:gd name="T10" fmla="*/ 551 w 537"/>
                  <a:gd name="T11" fmla="*/ 400 h 445"/>
                  <a:gd name="T12" fmla="*/ 582 w 537"/>
                  <a:gd name="T13" fmla="*/ 388 h 445"/>
                  <a:gd name="T14" fmla="*/ 586 w 537"/>
                  <a:gd name="T15" fmla="*/ 372 h 445"/>
                  <a:gd name="T16" fmla="*/ 568 w 537"/>
                  <a:gd name="T17" fmla="*/ 360 h 445"/>
                  <a:gd name="T18" fmla="*/ 560 w 537"/>
                  <a:gd name="T19" fmla="*/ 348 h 445"/>
                  <a:gd name="T20" fmla="*/ 538 w 537"/>
                  <a:gd name="T21" fmla="*/ 336 h 445"/>
                  <a:gd name="T22" fmla="*/ 516 w 537"/>
                  <a:gd name="T23" fmla="*/ 296 h 445"/>
                  <a:gd name="T24" fmla="*/ 463 w 537"/>
                  <a:gd name="T25" fmla="*/ 248 h 445"/>
                  <a:gd name="T26" fmla="*/ 472 w 537"/>
                  <a:gd name="T27" fmla="*/ 176 h 445"/>
                  <a:gd name="T28" fmla="*/ 420 w 537"/>
                  <a:gd name="T29" fmla="*/ 148 h 445"/>
                  <a:gd name="T30" fmla="*/ 380 w 537"/>
                  <a:gd name="T31" fmla="*/ 104 h 445"/>
                  <a:gd name="T32" fmla="*/ 350 w 537"/>
                  <a:gd name="T33" fmla="*/ 32 h 445"/>
                  <a:gd name="T34" fmla="*/ 319 w 537"/>
                  <a:gd name="T35" fmla="*/ 0 h 445"/>
                  <a:gd name="T36" fmla="*/ 0 w 537"/>
                  <a:gd name="T37" fmla="*/ 28 h 445"/>
                  <a:gd name="T38" fmla="*/ 35 w 537"/>
                  <a:gd name="T39" fmla="*/ 88 h 445"/>
                  <a:gd name="T40" fmla="*/ 44 w 537"/>
                  <a:gd name="T41" fmla="*/ 108 h 445"/>
                  <a:gd name="T42" fmla="*/ 66 w 537"/>
                  <a:gd name="T43" fmla="*/ 108 h 445"/>
                  <a:gd name="T44" fmla="*/ 70 w 537"/>
                  <a:gd name="T45" fmla="*/ 132 h 445"/>
                  <a:gd name="T46" fmla="*/ 92 w 537"/>
                  <a:gd name="T47" fmla="*/ 168 h 445"/>
                  <a:gd name="T48" fmla="*/ 122 w 537"/>
                  <a:gd name="T49" fmla="*/ 380 h 445"/>
                  <a:gd name="T50" fmla="*/ 131 w 537"/>
                  <a:gd name="T51" fmla="*/ 428 h 44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537"/>
                  <a:gd name="T79" fmla="*/ 0 h 445"/>
                  <a:gd name="T80" fmla="*/ 537 w 537"/>
                  <a:gd name="T81" fmla="*/ 445 h 445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537" h="445">
                    <a:moveTo>
                      <a:pt x="120" y="428"/>
                    </a:moveTo>
                    <a:lnTo>
                      <a:pt x="264" y="420"/>
                    </a:lnTo>
                    <a:lnTo>
                      <a:pt x="468" y="400"/>
                    </a:lnTo>
                    <a:lnTo>
                      <a:pt x="456" y="444"/>
                    </a:lnTo>
                    <a:lnTo>
                      <a:pt x="496" y="444"/>
                    </a:lnTo>
                    <a:lnTo>
                      <a:pt x="504" y="400"/>
                    </a:lnTo>
                    <a:lnTo>
                      <a:pt x="532" y="388"/>
                    </a:lnTo>
                    <a:lnTo>
                      <a:pt x="536" y="372"/>
                    </a:lnTo>
                    <a:lnTo>
                      <a:pt x="520" y="360"/>
                    </a:lnTo>
                    <a:lnTo>
                      <a:pt x="512" y="348"/>
                    </a:lnTo>
                    <a:lnTo>
                      <a:pt x="492" y="336"/>
                    </a:lnTo>
                    <a:lnTo>
                      <a:pt x="472" y="296"/>
                    </a:lnTo>
                    <a:lnTo>
                      <a:pt x="424" y="248"/>
                    </a:lnTo>
                    <a:lnTo>
                      <a:pt x="432" y="176"/>
                    </a:lnTo>
                    <a:lnTo>
                      <a:pt x="384" y="148"/>
                    </a:lnTo>
                    <a:lnTo>
                      <a:pt x="348" y="104"/>
                    </a:lnTo>
                    <a:lnTo>
                      <a:pt x="320" y="32"/>
                    </a:lnTo>
                    <a:lnTo>
                      <a:pt x="292" y="0"/>
                    </a:lnTo>
                    <a:lnTo>
                      <a:pt x="0" y="28"/>
                    </a:lnTo>
                    <a:lnTo>
                      <a:pt x="32" y="88"/>
                    </a:lnTo>
                    <a:lnTo>
                      <a:pt x="40" y="108"/>
                    </a:lnTo>
                    <a:lnTo>
                      <a:pt x="60" y="108"/>
                    </a:lnTo>
                    <a:lnTo>
                      <a:pt x="64" y="132"/>
                    </a:lnTo>
                    <a:lnTo>
                      <a:pt x="84" y="168"/>
                    </a:lnTo>
                    <a:lnTo>
                      <a:pt x="112" y="380"/>
                    </a:lnTo>
                    <a:lnTo>
                      <a:pt x="120" y="428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0" name="Freeform 64"/>
              <p:cNvSpPr>
                <a:spLocks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6089062" y="3003550"/>
                <a:ext cx="425461" cy="687388"/>
              </a:xfrm>
              <a:custGeom>
                <a:avLst/>
                <a:gdLst>
                  <a:gd name="T0" fmla="*/ 0 w 245"/>
                  <a:gd name="T1" fmla="*/ 40 h 433"/>
                  <a:gd name="T2" fmla="*/ 44 w 245"/>
                  <a:gd name="T3" fmla="*/ 272 h 433"/>
                  <a:gd name="T4" fmla="*/ 35 w 245"/>
                  <a:gd name="T5" fmla="*/ 300 h 433"/>
                  <a:gd name="T6" fmla="*/ 57 w 245"/>
                  <a:gd name="T7" fmla="*/ 324 h 433"/>
                  <a:gd name="T8" fmla="*/ 22 w 245"/>
                  <a:gd name="T9" fmla="*/ 432 h 433"/>
                  <a:gd name="T10" fmla="*/ 48 w 245"/>
                  <a:gd name="T11" fmla="*/ 412 h 433"/>
                  <a:gd name="T12" fmla="*/ 153 w 245"/>
                  <a:gd name="T13" fmla="*/ 400 h 433"/>
                  <a:gd name="T14" fmla="*/ 158 w 245"/>
                  <a:gd name="T15" fmla="*/ 372 h 433"/>
                  <a:gd name="T16" fmla="*/ 188 w 245"/>
                  <a:gd name="T17" fmla="*/ 392 h 433"/>
                  <a:gd name="T18" fmla="*/ 210 w 245"/>
                  <a:gd name="T19" fmla="*/ 348 h 433"/>
                  <a:gd name="T20" fmla="*/ 232 w 245"/>
                  <a:gd name="T21" fmla="*/ 312 h 433"/>
                  <a:gd name="T22" fmla="*/ 267 w 245"/>
                  <a:gd name="T23" fmla="*/ 280 h 433"/>
                  <a:gd name="T24" fmla="*/ 210 w 245"/>
                  <a:gd name="T25" fmla="*/ 0 h 433"/>
                  <a:gd name="T26" fmla="*/ 74 w 245"/>
                  <a:gd name="T27" fmla="*/ 12 h 433"/>
                  <a:gd name="T28" fmla="*/ 57 w 245"/>
                  <a:gd name="T29" fmla="*/ 28 h 433"/>
                  <a:gd name="T30" fmla="*/ 26 w 245"/>
                  <a:gd name="T31" fmla="*/ 40 h 433"/>
                  <a:gd name="T32" fmla="*/ 0 w 245"/>
                  <a:gd name="T33" fmla="*/ 40 h 433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245"/>
                  <a:gd name="T52" fmla="*/ 0 h 433"/>
                  <a:gd name="T53" fmla="*/ 245 w 245"/>
                  <a:gd name="T54" fmla="*/ 433 h 433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245" h="433">
                    <a:moveTo>
                      <a:pt x="0" y="40"/>
                    </a:moveTo>
                    <a:lnTo>
                      <a:pt x="40" y="272"/>
                    </a:lnTo>
                    <a:lnTo>
                      <a:pt x="32" y="300"/>
                    </a:lnTo>
                    <a:lnTo>
                      <a:pt x="52" y="324"/>
                    </a:lnTo>
                    <a:lnTo>
                      <a:pt x="20" y="432"/>
                    </a:lnTo>
                    <a:lnTo>
                      <a:pt x="44" y="412"/>
                    </a:lnTo>
                    <a:lnTo>
                      <a:pt x="140" y="400"/>
                    </a:lnTo>
                    <a:lnTo>
                      <a:pt x="144" y="372"/>
                    </a:lnTo>
                    <a:lnTo>
                      <a:pt x="172" y="392"/>
                    </a:lnTo>
                    <a:lnTo>
                      <a:pt x="192" y="348"/>
                    </a:lnTo>
                    <a:lnTo>
                      <a:pt x="212" y="312"/>
                    </a:lnTo>
                    <a:lnTo>
                      <a:pt x="244" y="280"/>
                    </a:lnTo>
                    <a:lnTo>
                      <a:pt x="192" y="0"/>
                    </a:lnTo>
                    <a:lnTo>
                      <a:pt x="68" y="12"/>
                    </a:lnTo>
                    <a:lnTo>
                      <a:pt x="52" y="28"/>
                    </a:lnTo>
                    <a:lnTo>
                      <a:pt x="24" y="40"/>
                    </a:lnTo>
                    <a:lnTo>
                      <a:pt x="0" y="40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1" name="Freeform 65"/>
              <p:cNvSpPr>
                <a:spLocks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068121" y="1960563"/>
                <a:ext cx="857272" cy="541338"/>
              </a:xfrm>
              <a:custGeom>
                <a:avLst/>
                <a:gdLst>
                  <a:gd name="T0" fmla="*/ 13 w 494"/>
                  <a:gd name="T1" fmla="*/ 4 h 341"/>
                  <a:gd name="T2" fmla="*/ 0 w 494"/>
                  <a:gd name="T3" fmla="*/ 336 h 341"/>
                  <a:gd name="T4" fmla="*/ 367 w 494"/>
                  <a:gd name="T5" fmla="*/ 340 h 341"/>
                  <a:gd name="T6" fmla="*/ 539 w 494"/>
                  <a:gd name="T7" fmla="*/ 328 h 341"/>
                  <a:gd name="T8" fmla="*/ 525 w 494"/>
                  <a:gd name="T9" fmla="*/ 192 h 341"/>
                  <a:gd name="T10" fmla="*/ 498 w 494"/>
                  <a:gd name="T11" fmla="*/ 124 h 341"/>
                  <a:gd name="T12" fmla="*/ 472 w 494"/>
                  <a:gd name="T13" fmla="*/ 0 h 341"/>
                  <a:gd name="T14" fmla="*/ 262 w 494"/>
                  <a:gd name="T15" fmla="*/ 4 h 341"/>
                  <a:gd name="T16" fmla="*/ 13 w 494"/>
                  <a:gd name="T17" fmla="*/ 4 h 34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94"/>
                  <a:gd name="T28" fmla="*/ 0 h 341"/>
                  <a:gd name="T29" fmla="*/ 494 w 494"/>
                  <a:gd name="T30" fmla="*/ 341 h 34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94" h="341">
                    <a:moveTo>
                      <a:pt x="12" y="4"/>
                    </a:moveTo>
                    <a:lnTo>
                      <a:pt x="0" y="336"/>
                    </a:lnTo>
                    <a:lnTo>
                      <a:pt x="336" y="340"/>
                    </a:lnTo>
                    <a:lnTo>
                      <a:pt x="493" y="328"/>
                    </a:lnTo>
                    <a:lnTo>
                      <a:pt x="480" y="192"/>
                    </a:lnTo>
                    <a:lnTo>
                      <a:pt x="456" y="124"/>
                    </a:lnTo>
                    <a:lnTo>
                      <a:pt x="432" y="0"/>
                    </a:lnTo>
                    <a:lnTo>
                      <a:pt x="240" y="4"/>
                    </a:lnTo>
                    <a:lnTo>
                      <a:pt x="12" y="4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2" name="Freeform 66"/>
              <p:cNvSpPr>
                <a:spLocks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047483" y="2481263"/>
                <a:ext cx="925537" cy="574675"/>
              </a:xfrm>
              <a:custGeom>
                <a:avLst/>
                <a:gdLst>
                  <a:gd name="T0" fmla="*/ 13 w 534"/>
                  <a:gd name="T1" fmla="*/ 8 h 362"/>
                  <a:gd name="T2" fmla="*/ 380 w 534"/>
                  <a:gd name="T3" fmla="*/ 12 h 362"/>
                  <a:gd name="T4" fmla="*/ 551 w 534"/>
                  <a:gd name="T5" fmla="*/ 0 h 362"/>
                  <a:gd name="T6" fmla="*/ 533 w 534"/>
                  <a:gd name="T7" fmla="*/ 36 h 362"/>
                  <a:gd name="T8" fmla="*/ 556 w 534"/>
                  <a:gd name="T9" fmla="*/ 64 h 362"/>
                  <a:gd name="T10" fmla="*/ 582 w 534"/>
                  <a:gd name="T11" fmla="*/ 241 h 362"/>
                  <a:gd name="T12" fmla="*/ 569 w 534"/>
                  <a:gd name="T13" fmla="*/ 265 h 362"/>
                  <a:gd name="T14" fmla="*/ 582 w 534"/>
                  <a:gd name="T15" fmla="*/ 277 h 362"/>
                  <a:gd name="T16" fmla="*/ 582 w 534"/>
                  <a:gd name="T17" fmla="*/ 361 h 362"/>
                  <a:gd name="T18" fmla="*/ 560 w 534"/>
                  <a:gd name="T19" fmla="*/ 333 h 362"/>
                  <a:gd name="T20" fmla="*/ 533 w 534"/>
                  <a:gd name="T21" fmla="*/ 317 h 362"/>
                  <a:gd name="T22" fmla="*/ 493 w 534"/>
                  <a:gd name="T23" fmla="*/ 325 h 362"/>
                  <a:gd name="T24" fmla="*/ 459 w 534"/>
                  <a:gd name="T25" fmla="*/ 321 h 362"/>
                  <a:gd name="T26" fmla="*/ 415 w 534"/>
                  <a:gd name="T27" fmla="*/ 305 h 362"/>
                  <a:gd name="T28" fmla="*/ 153 w 534"/>
                  <a:gd name="T29" fmla="*/ 305 h 362"/>
                  <a:gd name="T30" fmla="*/ 0 w 534"/>
                  <a:gd name="T31" fmla="*/ 297 h 362"/>
                  <a:gd name="T32" fmla="*/ 4 w 534"/>
                  <a:gd name="T33" fmla="*/ 97 h 362"/>
                  <a:gd name="T34" fmla="*/ 13 w 534"/>
                  <a:gd name="T35" fmla="*/ 8 h 36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534"/>
                  <a:gd name="T55" fmla="*/ 0 h 362"/>
                  <a:gd name="T56" fmla="*/ 534 w 534"/>
                  <a:gd name="T57" fmla="*/ 362 h 362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534" h="362">
                    <a:moveTo>
                      <a:pt x="12" y="8"/>
                    </a:moveTo>
                    <a:lnTo>
                      <a:pt x="348" y="12"/>
                    </a:lnTo>
                    <a:lnTo>
                      <a:pt x="505" y="0"/>
                    </a:lnTo>
                    <a:lnTo>
                      <a:pt x="488" y="36"/>
                    </a:lnTo>
                    <a:lnTo>
                      <a:pt x="509" y="64"/>
                    </a:lnTo>
                    <a:lnTo>
                      <a:pt x="533" y="241"/>
                    </a:lnTo>
                    <a:lnTo>
                      <a:pt x="521" y="265"/>
                    </a:lnTo>
                    <a:lnTo>
                      <a:pt x="533" y="277"/>
                    </a:lnTo>
                    <a:lnTo>
                      <a:pt x="533" y="361"/>
                    </a:lnTo>
                    <a:lnTo>
                      <a:pt x="513" y="333"/>
                    </a:lnTo>
                    <a:lnTo>
                      <a:pt x="488" y="317"/>
                    </a:lnTo>
                    <a:lnTo>
                      <a:pt x="452" y="325"/>
                    </a:lnTo>
                    <a:lnTo>
                      <a:pt x="420" y="321"/>
                    </a:lnTo>
                    <a:lnTo>
                      <a:pt x="380" y="305"/>
                    </a:lnTo>
                    <a:lnTo>
                      <a:pt x="140" y="305"/>
                    </a:lnTo>
                    <a:lnTo>
                      <a:pt x="0" y="297"/>
                    </a:lnTo>
                    <a:lnTo>
                      <a:pt x="4" y="97"/>
                    </a:lnTo>
                    <a:lnTo>
                      <a:pt x="12" y="8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3" name="Freeform 67"/>
              <p:cNvSpPr>
                <a:spLocks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817441" y="1852613"/>
                <a:ext cx="912836" cy="1012825"/>
              </a:xfrm>
              <a:custGeom>
                <a:avLst/>
                <a:gdLst>
                  <a:gd name="T0" fmla="*/ 574 w 526"/>
                  <a:gd name="T1" fmla="*/ 140 h 638"/>
                  <a:gd name="T2" fmla="*/ 530 w 526"/>
                  <a:gd name="T3" fmla="*/ 184 h 638"/>
                  <a:gd name="T4" fmla="*/ 473 w 526"/>
                  <a:gd name="T5" fmla="*/ 212 h 638"/>
                  <a:gd name="T6" fmla="*/ 403 w 526"/>
                  <a:gd name="T7" fmla="*/ 292 h 638"/>
                  <a:gd name="T8" fmla="*/ 386 w 526"/>
                  <a:gd name="T9" fmla="*/ 320 h 638"/>
                  <a:gd name="T10" fmla="*/ 377 w 526"/>
                  <a:gd name="T11" fmla="*/ 360 h 638"/>
                  <a:gd name="T12" fmla="*/ 351 w 526"/>
                  <a:gd name="T13" fmla="*/ 372 h 638"/>
                  <a:gd name="T14" fmla="*/ 377 w 526"/>
                  <a:gd name="T15" fmla="*/ 384 h 638"/>
                  <a:gd name="T16" fmla="*/ 342 w 526"/>
                  <a:gd name="T17" fmla="*/ 384 h 638"/>
                  <a:gd name="T18" fmla="*/ 364 w 526"/>
                  <a:gd name="T19" fmla="*/ 396 h 638"/>
                  <a:gd name="T20" fmla="*/ 355 w 526"/>
                  <a:gd name="T21" fmla="*/ 420 h 638"/>
                  <a:gd name="T22" fmla="*/ 368 w 526"/>
                  <a:gd name="T23" fmla="*/ 488 h 638"/>
                  <a:gd name="T24" fmla="*/ 351 w 526"/>
                  <a:gd name="T25" fmla="*/ 513 h 638"/>
                  <a:gd name="T26" fmla="*/ 403 w 526"/>
                  <a:gd name="T27" fmla="*/ 529 h 638"/>
                  <a:gd name="T28" fmla="*/ 447 w 526"/>
                  <a:gd name="T29" fmla="*/ 561 h 638"/>
                  <a:gd name="T30" fmla="*/ 482 w 526"/>
                  <a:gd name="T31" fmla="*/ 577 h 638"/>
                  <a:gd name="T32" fmla="*/ 491 w 526"/>
                  <a:gd name="T33" fmla="*/ 613 h 638"/>
                  <a:gd name="T34" fmla="*/ 97 w 526"/>
                  <a:gd name="T35" fmla="*/ 637 h 638"/>
                  <a:gd name="T36" fmla="*/ 71 w 526"/>
                  <a:gd name="T37" fmla="*/ 460 h 638"/>
                  <a:gd name="T38" fmla="*/ 48 w 526"/>
                  <a:gd name="T39" fmla="*/ 432 h 638"/>
                  <a:gd name="T40" fmla="*/ 67 w 526"/>
                  <a:gd name="T41" fmla="*/ 396 h 638"/>
                  <a:gd name="T42" fmla="*/ 52 w 526"/>
                  <a:gd name="T43" fmla="*/ 260 h 638"/>
                  <a:gd name="T44" fmla="*/ 26 w 526"/>
                  <a:gd name="T45" fmla="*/ 192 h 638"/>
                  <a:gd name="T46" fmla="*/ 0 w 526"/>
                  <a:gd name="T47" fmla="*/ 68 h 638"/>
                  <a:gd name="T48" fmla="*/ 154 w 526"/>
                  <a:gd name="T49" fmla="*/ 52 h 638"/>
                  <a:gd name="T50" fmla="*/ 198 w 526"/>
                  <a:gd name="T51" fmla="*/ 0 h 638"/>
                  <a:gd name="T52" fmla="*/ 224 w 526"/>
                  <a:gd name="T53" fmla="*/ 16 h 638"/>
                  <a:gd name="T54" fmla="*/ 211 w 526"/>
                  <a:gd name="T55" fmla="*/ 40 h 638"/>
                  <a:gd name="T56" fmla="*/ 237 w 526"/>
                  <a:gd name="T57" fmla="*/ 52 h 638"/>
                  <a:gd name="T58" fmla="*/ 224 w 526"/>
                  <a:gd name="T59" fmla="*/ 80 h 638"/>
                  <a:gd name="T60" fmla="*/ 272 w 526"/>
                  <a:gd name="T61" fmla="*/ 100 h 638"/>
                  <a:gd name="T62" fmla="*/ 320 w 526"/>
                  <a:gd name="T63" fmla="*/ 88 h 638"/>
                  <a:gd name="T64" fmla="*/ 469 w 526"/>
                  <a:gd name="T65" fmla="*/ 140 h 638"/>
                  <a:gd name="T66" fmla="*/ 574 w 526"/>
                  <a:gd name="T67" fmla="*/ 140 h 638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526"/>
                  <a:gd name="T103" fmla="*/ 0 h 638"/>
                  <a:gd name="T104" fmla="*/ 526 w 526"/>
                  <a:gd name="T105" fmla="*/ 638 h 638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526" h="638">
                    <a:moveTo>
                      <a:pt x="525" y="140"/>
                    </a:moveTo>
                    <a:lnTo>
                      <a:pt x="485" y="184"/>
                    </a:lnTo>
                    <a:lnTo>
                      <a:pt x="433" y="212"/>
                    </a:lnTo>
                    <a:lnTo>
                      <a:pt x="369" y="292"/>
                    </a:lnTo>
                    <a:lnTo>
                      <a:pt x="353" y="320"/>
                    </a:lnTo>
                    <a:lnTo>
                      <a:pt x="345" y="360"/>
                    </a:lnTo>
                    <a:lnTo>
                      <a:pt x="321" y="372"/>
                    </a:lnTo>
                    <a:lnTo>
                      <a:pt x="345" y="384"/>
                    </a:lnTo>
                    <a:lnTo>
                      <a:pt x="313" y="384"/>
                    </a:lnTo>
                    <a:lnTo>
                      <a:pt x="333" y="396"/>
                    </a:lnTo>
                    <a:lnTo>
                      <a:pt x="325" y="420"/>
                    </a:lnTo>
                    <a:lnTo>
                      <a:pt x="337" y="488"/>
                    </a:lnTo>
                    <a:lnTo>
                      <a:pt x="321" y="513"/>
                    </a:lnTo>
                    <a:lnTo>
                      <a:pt x="369" y="529"/>
                    </a:lnTo>
                    <a:lnTo>
                      <a:pt x="409" y="561"/>
                    </a:lnTo>
                    <a:lnTo>
                      <a:pt x="441" y="577"/>
                    </a:lnTo>
                    <a:lnTo>
                      <a:pt x="449" y="613"/>
                    </a:lnTo>
                    <a:lnTo>
                      <a:pt x="89" y="637"/>
                    </a:lnTo>
                    <a:lnTo>
                      <a:pt x="65" y="460"/>
                    </a:lnTo>
                    <a:lnTo>
                      <a:pt x="44" y="432"/>
                    </a:lnTo>
                    <a:lnTo>
                      <a:pt x="61" y="396"/>
                    </a:lnTo>
                    <a:lnTo>
                      <a:pt x="48" y="260"/>
                    </a:lnTo>
                    <a:lnTo>
                      <a:pt x="24" y="192"/>
                    </a:lnTo>
                    <a:lnTo>
                      <a:pt x="0" y="68"/>
                    </a:lnTo>
                    <a:lnTo>
                      <a:pt x="141" y="52"/>
                    </a:lnTo>
                    <a:lnTo>
                      <a:pt x="181" y="0"/>
                    </a:lnTo>
                    <a:lnTo>
                      <a:pt x="205" y="16"/>
                    </a:lnTo>
                    <a:lnTo>
                      <a:pt x="193" y="40"/>
                    </a:lnTo>
                    <a:lnTo>
                      <a:pt x="217" y="52"/>
                    </a:lnTo>
                    <a:lnTo>
                      <a:pt x="205" y="80"/>
                    </a:lnTo>
                    <a:lnTo>
                      <a:pt x="249" y="100"/>
                    </a:lnTo>
                    <a:lnTo>
                      <a:pt x="293" y="88"/>
                    </a:lnTo>
                    <a:lnTo>
                      <a:pt x="429" y="140"/>
                    </a:lnTo>
                    <a:lnTo>
                      <a:pt x="525" y="140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4" name="Freeform 68"/>
              <p:cNvSpPr>
                <a:spLocks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5360380" y="2284413"/>
                <a:ext cx="703281" cy="701675"/>
              </a:xfrm>
              <a:custGeom>
                <a:avLst/>
                <a:gdLst>
                  <a:gd name="T0" fmla="*/ 184 w 405"/>
                  <a:gd name="T1" fmla="*/ 32 h 442"/>
                  <a:gd name="T2" fmla="*/ 144 w 405"/>
                  <a:gd name="T3" fmla="*/ 32 h 442"/>
                  <a:gd name="T4" fmla="*/ 149 w 405"/>
                  <a:gd name="T5" fmla="*/ 0 h 442"/>
                  <a:gd name="T6" fmla="*/ 61 w 405"/>
                  <a:gd name="T7" fmla="*/ 20 h 442"/>
                  <a:gd name="T8" fmla="*/ 44 w 405"/>
                  <a:gd name="T9" fmla="*/ 48 h 442"/>
                  <a:gd name="T10" fmla="*/ 35 w 405"/>
                  <a:gd name="T11" fmla="*/ 88 h 442"/>
                  <a:gd name="T12" fmla="*/ 9 w 405"/>
                  <a:gd name="T13" fmla="*/ 100 h 442"/>
                  <a:gd name="T14" fmla="*/ 35 w 405"/>
                  <a:gd name="T15" fmla="*/ 112 h 442"/>
                  <a:gd name="T16" fmla="*/ 0 w 405"/>
                  <a:gd name="T17" fmla="*/ 112 h 442"/>
                  <a:gd name="T18" fmla="*/ 22 w 405"/>
                  <a:gd name="T19" fmla="*/ 124 h 442"/>
                  <a:gd name="T20" fmla="*/ 13 w 405"/>
                  <a:gd name="T21" fmla="*/ 148 h 442"/>
                  <a:gd name="T22" fmla="*/ 26 w 405"/>
                  <a:gd name="T23" fmla="*/ 216 h 442"/>
                  <a:gd name="T24" fmla="*/ 9 w 405"/>
                  <a:gd name="T25" fmla="*/ 241 h 442"/>
                  <a:gd name="T26" fmla="*/ 61 w 405"/>
                  <a:gd name="T27" fmla="*/ 257 h 442"/>
                  <a:gd name="T28" fmla="*/ 105 w 405"/>
                  <a:gd name="T29" fmla="*/ 289 h 442"/>
                  <a:gd name="T30" fmla="*/ 140 w 405"/>
                  <a:gd name="T31" fmla="*/ 305 h 442"/>
                  <a:gd name="T32" fmla="*/ 149 w 405"/>
                  <a:gd name="T33" fmla="*/ 341 h 442"/>
                  <a:gd name="T34" fmla="*/ 162 w 405"/>
                  <a:gd name="T35" fmla="*/ 349 h 442"/>
                  <a:gd name="T36" fmla="*/ 153 w 405"/>
                  <a:gd name="T37" fmla="*/ 397 h 442"/>
                  <a:gd name="T38" fmla="*/ 171 w 405"/>
                  <a:gd name="T39" fmla="*/ 421 h 442"/>
                  <a:gd name="T40" fmla="*/ 210 w 405"/>
                  <a:gd name="T41" fmla="*/ 441 h 442"/>
                  <a:gd name="T42" fmla="*/ 429 w 405"/>
                  <a:gd name="T43" fmla="*/ 401 h 442"/>
                  <a:gd name="T44" fmla="*/ 416 w 405"/>
                  <a:gd name="T45" fmla="*/ 345 h 442"/>
                  <a:gd name="T46" fmla="*/ 442 w 405"/>
                  <a:gd name="T47" fmla="*/ 136 h 442"/>
                  <a:gd name="T48" fmla="*/ 389 w 405"/>
                  <a:gd name="T49" fmla="*/ 212 h 442"/>
                  <a:gd name="T50" fmla="*/ 385 w 405"/>
                  <a:gd name="T51" fmla="*/ 192 h 442"/>
                  <a:gd name="T52" fmla="*/ 403 w 405"/>
                  <a:gd name="T53" fmla="*/ 148 h 442"/>
                  <a:gd name="T54" fmla="*/ 389 w 405"/>
                  <a:gd name="T55" fmla="*/ 96 h 442"/>
                  <a:gd name="T56" fmla="*/ 372 w 405"/>
                  <a:gd name="T57" fmla="*/ 96 h 442"/>
                  <a:gd name="T58" fmla="*/ 363 w 405"/>
                  <a:gd name="T59" fmla="*/ 80 h 442"/>
                  <a:gd name="T60" fmla="*/ 315 w 405"/>
                  <a:gd name="T61" fmla="*/ 80 h 442"/>
                  <a:gd name="T62" fmla="*/ 276 w 405"/>
                  <a:gd name="T63" fmla="*/ 52 h 442"/>
                  <a:gd name="T64" fmla="*/ 214 w 405"/>
                  <a:gd name="T65" fmla="*/ 52 h 442"/>
                  <a:gd name="T66" fmla="*/ 184 w 405"/>
                  <a:gd name="T67" fmla="*/ 32 h 442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405"/>
                  <a:gd name="T103" fmla="*/ 0 h 442"/>
                  <a:gd name="T104" fmla="*/ 405 w 405"/>
                  <a:gd name="T105" fmla="*/ 442 h 442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405" h="442">
                    <a:moveTo>
                      <a:pt x="168" y="32"/>
                    </a:moveTo>
                    <a:lnTo>
                      <a:pt x="132" y="32"/>
                    </a:lnTo>
                    <a:lnTo>
                      <a:pt x="136" y="0"/>
                    </a:lnTo>
                    <a:lnTo>
                      <a:pt x="56" y="20"/>
                    </a:lnTo>
                    <a:lnTo>
                      <a:pt x="40" y="48"/>
                    </a:lnTo>
                    <a:lnTo>
                      <a:pt x="32" y="88"/>
                    </a:lnTo>
                    <a:lnTo>
                      <a:pt x="8" y="100"/>
                    </a:lnTo>
                    <a:lnTo>
                      <a:pt x="32" y="112"/>
                    </a:lnTo>
                    <a:lnTo>
                      <a:pt x="0" y="112"/>
                    </a:lnTo>
                    <a:lnTo>
                      <a:pt x="20" y="124"/>
                    </a:lnTo>
                    <a:lnTo>
                      <a:pt x="12" y="148"/>
                    </a:lnTo>
                    <a:lnTo>
                      <a:pt x="24" y="216"/>
                    </a:lnTo>
                    <a:lnTo>
                      <a:pt x="8" y="241"/>
                    </a:lnTo>
                    <a:lnTo>
                      <a:pt x="56" y="257"/>
                    </a:lnTo>
                    <a:lnTo>
                      <a:pt x="96" y="289"/>
                    </a:lnTo>
                    <a:lnTo>
                      <a:pt x="128" y="305"/>
                    </a:lnTo>
                    <a:lnTo>
                      <a:pt x="136" y="341"/>
                    </a:lnTo>
                    <a:lnTo>
                      <a:pt x="148" y="349"/>
                    </a:lnTo>
                    <a:lnTo>
                      <a:pt x="140" y="397"/>
                    </a:lnTo>
                    <a:lnTo>
                      <a:pt x="156" y="421"/>
                    </a:lnTo>
                    <a:lnTo>
                      <a:pt x="192" y="441"/>
                    </a:lnTo>
                    <a:lnTo>
                      <a:pt x="392" y="401"/>
                    </a:lnTo>
                    <a:lnTo>
                      <a:pt x="380" y="345"/>
                    </a:lnTo>
                    <a:lnTo>
                      <a:pt x="404" y="136"/>
                    </a:lnTo>
                    <a:lnTo>
                      <a:pt x="356" y="212"/>
                    </a:lnTo>
                    <a:lnTo>
                      <a:pt x="352" y="192"/>
                    </a:lnTo>
                    <a:lnTo>
                      <a:pt x="368" y="148"/>
                    </a:lnTo>
                    <a:lnTo>
                      <a:pt x="356" y="96"/>
                    </a:lnTo>
                    <a:lnTo>
                      <a:pt x="340" y="96"/>
                    </a:lnTo>
                    <a:lnTo>
                      <a:pt x="332" y="80"/>
                    </a:lnTo>
                    <a:lnTo>
                      <a:pt x="288" y="80"/>
                    </a:lnTo>
                    <a:lnTo>
                      <a:pt x="252" y="52"/>
                    </a:lnTo>
                    <a:lnTo>
                      <a:pt x="196" y="52"/>
                    </a:lnTo>
                    <a:lnTo>
                      <a:pt x="168" y="32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5" name="Freeform 70"/>
              <p:cNvSpPr>
                <a:spLocks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6422446" y="2844800"/>
                <a:ext cx="592153" cy="623888"/>
              </a:xfrm>
              <a:custGeom>
                <a:avLst/>
                <a:gdLst>
                  <a:gd name="T0" fmla="*/ 123 w 341"/>
                  <a:gd name="T1" fmla="*/ 364 h 393"/>
                  <a:gd name="T2" fmla="*/ 153 w 341"/>
                  <a:gd name="T3" fmla="*/ 384 h 393"/>
                  <a:gd name="T4" fmla="*/ 179 w 341"/>
                  <a:gd name="T5" fmla="*/ 368 h 393"/>
                  <a:gd name="T6" fmla="*/ 201 w 341"/>
                  <a:gd name="T7" fmla="*/ 380 h 393"/>
                  <a:gd name="T8" fmla="*/ 210 w 341"/>
                  <a:gd name="T9" fmla="*/ 364 h 393"/>
                  <a:gd name="T10" fmla="*/ 228 w 341"/>
                  <a:gd name="T11" fmla="*/ 364 h 393"/>
                  <a:gd name="T12" fmla="*/ 258 w 341"/>
                  <a:gd name="T13" fmla="*/ 392 h 393"/>
                  <a:gd name="T14" fmla="*/ 276 w 341"/>
                  <a:gd name="T15" fmla="*/ 380 h 393"/>
                  <a:gd name="T16" fmla="*/ 284 w 341"/>
                  <a:gd name="T17" fmla="*/ 364 h 393"/>
                  <a:gd name="T18" fmla="*/ 284 w 341"/>
                  <a:gd name="T19" fmla="*/ 344 h 393"/>
                  <a:gd name="T20" fmla="*/ 298 w 341"/>
                  <a:gd name="T21" fmla="*/ 320 h 393"/>
                  <a:gd name="T22" fmla="*/ 311 w 341"/>
                  <a:gd name="T23" fmla="*/ 316 h 393"/>
                  <a:gd name="T24" fmla="*/ 315 w 341"/>
                  <a:gd name="T25" fmla="*/ 292 h 393"/>
                  <a:gd name="T26" fmla="*/ 324 w 341"/>
                  <a:gd name="T27" fmla="*/ 272 h 393"/>
                  <a:gd name="T28" fmla="*/ 333 w 341"/>
                  <a:gd name="T29" fmla="*/ 260 h 393"/>
                  <a:gd name="T30" fmla="*/ 333 w 341"/>
                  <a:gd name="T31" fmla="*/ 268 h 393"/>
                  <a:gd name="T32" fmla="*/ 350 w 341"/>
                  <a:gd name="T33" fmla="*/ 248 h 393"/>
                  <a:gd name="T34" fmla="*/ 363 w 341"/>
                  <a:gd name="T35" fmla="*/ 216 h 393"/>
                  <a:gd name="T36" fmla="*/ 363 w 341"/>
                  <a:gd name="T37" fmla="*/ 172 h 393"/>
                  <a:gd name="T38" fmla="*/ 372 w 341"/>
                  <a:gd name="T39" fmla="*/ 148 h 393"/>
                  <a:gd name="T40" fmla="*/ 337 w 341"/>
                  <a:gd name="T41" fmla="*/ 0 h 393"/>
                  <a:gd name="T42" fmla="*/ 276 w 341"/>
                  <a:gd name="T43" fmla="*/ 48 h 393"/>
                  <a:gd name="T44" fmla="*/ 241 w 341"/>
                  <a:gd name="T45" fmla="*/ 80 h 393"/>
                  <a:gd name="T46" fmla="*/ 210 w 341"/>
                  <a:gd name="T47" fmla="*/ 92 h 393"/>
                  <a:gd name="T48" fmla="*/ 184 w 341"/>
                  <a:gd name="T49" fmla="*/ 92 h 393"/>
                  <a:gd name="T50" fmla="*/ 166 w 341"/>
                  <a:gd name="T51" fmla="*/ 80 h 393"/>
                  <a:gd name="T52" fmla="*/ 140 w 341"/>
                  <a:gd name="T53" fmla="*/ 84 h 393"/>
                  <a:gd name="T54" fmla="*/ 123 w 341"/>
                  <a:gd name="T55" fmla="*/ 76 h 393"/>
                  <a:gd name="T56" fmla="*/ 0 w 341"/>
                  <a:gd name="T57" fmla="*/ 100 h 393"/>
                  <a:gd name="T58" fmla="*/ 57 w 341"/>
                  <a:gd name="T59" fmla="*/ 380 h 393"/>
                  <a:gd name="T60" fmla="*/ 123 w 341"/>
                  <a:gd name="T61" fmla="*/ 364 h 393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341"/>
                  <a:gd name="T94" fmla="*/ 0 h 393"/>
                  <a:gd name="T95" fmla="*/ 341 w 341"/>
                  <a:gd name="T96" fmla="*/ 393 h 393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341" h="393">
                    <a:moveTo>
                      <a:pt x="112" y="364"/>
                    </a:moveTo>
                    <a:lnTo>
                      <a:pt x="140" y="384"/>
                    </a:lnTo>
                    <a:lnTo>
                      <a:pt x="164" y="368"/>
                    </a:lnTo>
                    <a:lnTo>
                      <a:pt x="184" y="380"/>
                    </a:lnTo>
                    <a:lnTo>
                      <a:pt x="192" y="364"/>
                    </a:lnTo>
                    <a:lnTo>
                      <a:pt x="208" y="364"/>
                    </a:lnTo>
                    <a:lnTo>
                      <a:pt x="236" y="392"/>
                    </a:lnTo>
                    <a:lnTo>
                      <a:pt x="252" y="380"/>
                    </a:lnTo>
                    <a:lnTo>
                      <a:pt x="260" y="364"/>
                    </a:lnTo>
                    <a:lnTo>
                      <a:pt x="260" y="344"/>
                    </a:lnTo>
                    <a:lnTo>
                      <a:pt x="272" y="320"/>
                    </a:lnTo>
                    <a:lnTo>
                      <a:pt x="284" y="316"/>
                    </a:lnTo>
                    <a:lnTo>
                      <a:pt x="288" y="292"/>
                    </a:lnTo>
                    <a:lnTo>
                      <a:pt x="296" y="272"/>
                    </a:lnTo>
                    <a:lnTo>
                      <a:pt x="304" y="260"/>
                    </a:lnTo>
                    <a:lnTo>
                      <a:pt x="304" y="268"/>
                    </a:lnTo>
                    <a:lnTo>
                      <a:pt x="320" y="248"/>
                    </a:lnTo>
                    <a:lnTo>
                      <a:pt x="332" y="216"/>
                    </a:lnTo>
                    <a:lnTo>
                      <a:pt x="332" y="172"/>
                    </a:lnTo>
                    <a:lnTo>
                      <a:pt x="340" y="148"/>
                    </a:lnTo>
                    <a:lnTo>
                      <a:pt x="308" y="0"/>
                    </a:lnTo>
                    <a:lnTo>
                      <a:pt x="252" y="48"/>
                    </a:lnTo>
                    <a:lnTo>
                      <a:pt x="220" y="80"/>
                    </a:lnTo>
                    <a:lnTo>
                      <a:pt x="192" y="92"/>
                    </a:lnTo>
                    <a:lnTo>
                      <a:pt x="168" y="92"/>
                    </a:lnTo>
                    <a:lnTo>
                      <a:pt x="152" y="80"/>
                    </a:lnTo>
                    <a:lnTo>
                      <a:pt x="128" y="84"/>
                    </a:lnTo>
                    <a:lnTo>
                      <a:pt x="112" y="76"/>
                    </a:lnTo>
                    <a:lnTo>
                      <a:pt x="0" y="100"/>
                    </a:lnTo>
                    <a:lnTo>
                      <a:pt x="52" y="380"/>
                    </a:lnTo>
                    <a:lnTo>
                      <a:pt x="112" y="364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6" name="Freeform 71"/>
              <p:cNvSpPr>
                <a:spLocks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7659140" y="2074863"/>
                <a:ext cx="209555" cy="433388"/>
              </a:xfrm>
              <a:custGeom>
                <a:avLst/>
                <a:gdLst>
                  <a:gd name="T0" fmla="*/ 4 w 121"/>
                  <a:gd name="T1" fmla="*/ 92 h 273"/>
                  <a:gd name="T2" fmla="*/ 0 w 121"/>
                  <a:gd name="T3" fmla="*/ 40 h 273"/>
                  <a:gd name="T4" fmla="*/ 109 w 121"/>
                  <a:gd name="T5" fmla="*/ 0 h 273"/>
                  <a:gd name="T6" fmla="*/ 131 w 121"/>
                  <a:gd name="T7" fmla="*/ 52 h 273"/>
                  <a:gd name="T8" fmla="*/ 127 w 121"/>
                  <a:gd name="T9" fmla="*/ 76 h 273"/>
                  <a:gd name="T10" fmla="*/ 113 w 121"/>
                  <a:gd name="T11" fmla="*/ 104 h 273"/>
                  <a:gd name="T12" fmla="*/ 113 w 121"/>
                  <a:gd name="T13" fmla="*/ 128 h 273"/>
                  <a:gd name="T14" fmla="*/ 105 w 121"/>
                  <a:gd name="T15" fmla="*/ 168 h 273"/>
                  <a:gd name="T16" fmla="*/ 131 w 121"/>
                  <a:gd name="T17" fmla="*/ 252 h 273"/>
                  <a:gd name="T18" fmla="*/ 74 w 121"/>
                  <a:gd name="T19" fmla="*/ 272 h 273"/>
                  <a:gd name="T20" fmla="*/ 61 w 121"/>
                  <a:gd name="T21" fmla="*/ 208 h 273"/>
                  <a:gd name="T22" fmla="*/ 57 w 121"/>
                  <a:gd name="T23" fmla="*/ 200 h 273"/>
                  <a:gd name="T24" fmla="*/ 44 w 121"/>
                  <a:gd name="T25" fmla="*/ 192 h 273"/>
                  <a:gd name="T26" fmla="*/ 35 w 121"/>
                  <a:gd name="T27" fmla="*/ 140 h 273"/>
                  <a:gd name="T28" fmla="*/ 4 w 121"/>
                  <a:gd name="T29" fmla="*/ 92 h 273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21"/>
                  <a:gd name="T46" fmla="*/ 0 h 273"/>
                  <a:gd name="T47" fmla="*/ 121 w 121"/>
                  <a:gd name="T48" fmla="*/ 273 h 273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21" h="273">
                    <a:moveTo>
                      <a:pt x="4" y="92"/>
                    </a:moveTo>
                    <a:lnTo>
                      <a:pt x="0" y="40"/>
                    </a:lnTo>
                    <a:lnTo>
                      <a:pt x="100" y="0"/>
                    </a:lnTo>
                    <a:lnTo>
                      <a:pt x="120" y="52"/>
                    </a:lnTo>
                    <a:lnTo>
                      <a:pt x="116" y="76"/>
                    </a:lnTo>
                    <a:lnTo>
                      <a:pt x="104" y="104"/>
                    </a:lnTo>
                    <a:lnTo>
                      <a:pt x="104" y="128"/>
                    </a:lnTo>
                    <a:lnTo>
                      <a:pt x="96" y="168"/>
                    </a:lnTo>
                    <a:lnTo>
                      <a:pt x="120" y="252"/>
                    </a:lnTo>
                    <a:lnTo>
                      <a:pt x="68" y="272"/>
                    </a:lnTo>
                    <a:lnTo>
                      <a:pt x="56" y="208"/>
                    </a:lnTo>
                    <a:lnTo>
                      <a:pt x="52" y="200"/>
                    </a:lnTo>
                    <a:lnTo>
                      <a:pt x="40" y="192"/>
                    </a:lnTo>
                    <a:lnTo>
                      <a:pt x="32" y="140"/>
                    </a:lnTo>
                    <a:lnTo>
                      <a:pt x="4" y="92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7" name="Freeform 72"/>
              <p:cNvSpPr>
                <a:spLocks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7825832" y="2055813"/>
                <a:ext cx="230194" cy="420688"/>
              </a:xfrm>
              <a:custGeom>
                <a:avLst/>
                <a:gdLst>
                  <a:gd name="T0" fmla="*/ 48 w 133"/>
                  <a:gd name="T1" fmla="*/ 0 h 265"/>
                  <a:gd name="T2" fmla="*/ 4 w 133"/>
                  <a:gd name="T3" fmla="*/ 12 h 265"/>
                  <a:gd name="T4" fmla="*/ 26 w 133"/>
                  <a:gd name="T5" fmla="*/ 64 h 265"/>
                  <a:gd name="T6" fmla="*/ 22 w 133"/>
                  <a:gd name="T7" fmla="*/ 88 h 265"/>
                  <a:gd name="T8" fmla="*/ 9 w 133"/>
                  <a:gd name="T9" fmla="*/ 116 h 265"/>
                  <a:gd name="T10" fmla="*/ 9 w 133"/>
                  <a:gd name="T11" fmla="*/ 140 h 265"/>
                  <a:gd name="T12" fmla="*/ 0 w 133"/>
                  <a:gd name="T13" fmla="*/ 180 h 265"/>
                  <a:gd name="T14" fmla="*/ 26 w 133"/>
                  <a:gd name="T15" fmla="*/ 264 h 265"/>
                  <a:gd name="T16" fmla="*/ 100 w 133"/>
                  <a:gd name="T17" fmla="*/ 244 h 265"/>
                  <a:gd name="T18" fmla="*/ 118 w 133"/>
                  <a:gd name="T19" fmla="*/ 220 h 265"/>
                  <a:gd name="T20" fmla="*/ 144 w 133"/>
                  <a:gd name="T21" fmla="*/ 212 h 265"/>
                  <a:gd name="T22" fmla="*/ 144 w 133"/>
                  <a:gd name="T23" fmla="*/ 192 h 265"/>
                  <a:gd name="T24" fmla="*/ 48 w 133"/>
                  <a:gd name="T25" fmla="*/ 0 h 265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33"/>
                  <a:gd name="T40" fmla="*/ 0 h 265"/>
                  <a:gd name="T41" fmla="*/ 133 w 133"/>
                  <a:gd name="T42" fmla="*/ 265 h 265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33" h="265">
                    <a:moveTo>
                      <a:pt x="44" y="0"/>
                    </a:moveTo>
                    <a:lnTo>
                      <a:pt x="4" y="12"/>
                    </a:lnTo>
                    <a:lnTo>
                      <a:pt x="24" y="64"/>
                    </a:lnTo>
                    <a:lnTo>
                      <a:pt x="20" y="88"/>
                    </a:lnTo>
                    <a:lnTo>
                      <a:pt x="8" y="116"/>
                    </a:lnTo>
                    <a:lnTo>
                      <a:pt x="8" y="140"/>
                    </a:lnTo>
                    <a:lnTo>
                      <a:pt x="0" y="180"/>
                    </a:lnTo>
                    <a:lnTo>
                      <a:pt x="24" y="264"/>
                    </a:lnTo>
                    <a:lnTo>
                      <a:pt x="92" y="244"/>
                    </a:lnTo>
                    <a:lnTo>
                      <a:pt x="108" y="220"/>
                    </a:lnTo>
                    <a:lnTo>
                      <a:pt x="132" y="212"/>
                    </a:lnTo>
                    <a:lnTo>
                      <a:pt x="132" y="192"/>
                    </a:lnTo>
                    <a:lnTo>
                      <a:pt x="44" y="0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8" name="Freeform 73"/>
              <p:cNvSpPr>
                <a:spLocks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7903622" y="1609725"/>
                <a:ext cx="481025" cy="757238"/>
              </a:xfrm>
              <a:custGeom>
                <a:avLst/>
                <a:gdLst>
                  <a:gd name="T0" fmla="*/ 0 w 277"/>
                  <a:gd name="T1" fmla="*/ 284 h 477"/>
                  <a:gd name="T2" fmla="*/ 96 w 277"/>
                  <a:gd name="T3" fmla="*/ 476 h 477"/>
                  <a:gd name="T4" fmla="*/ 105 w 277"/>
                  <a:gd name="T5" fmla="*/ 476 h 477"/>
                  <a:gd name="T6" fmla="*/ 105 w 277"/>
                  <a:gd name="T7" fmla="*/ 404 h 477"/>
                  <a:gd name="T8" fmla="*/ 96 w 277"/>
                  <a:gd name="T9" fmla="*/ 400 h 477"/>
                  <a:gd name="T10" fmla="*/ 118 w 277"/>
                  <a:gd name="T11" fmla="*/ 356 h 477"/>
                  <a:gd name="T12" fmla="*/ 127 w 277"/>
                  <a:gd name="T13" fmla="*/ 360 h 477"/>
                  <a:gd name="T14" fmla="*/ 149 w 277"/>
                  <a:gd name="T15" fmla="*/ 340 h 477"/>
                  <a:gd name="T16" fmla="*/ 166 w 277"/>
                  <a:gd name="T17" fmla="*/ 308 h 477"/>
                  <a:gd name="T18" fmla="*/ 166 w 277"/>
                  <a:gd name="T19" fmla="*/ 292 h 477"/>
                  <a:gd name="T20" fmla="*/ 171 w 277"/>
                  <a:gd name="T21" fmla="*/ 284 h 477"/>
                  <a:gd name="T22" fmla="*/ 201 w 277"/>
                  <a:gd name="T23" fmla="*/ 284 h 477"/>
                  <a:gd name="T24" fmla="*/ 223 w 277"/>
                  <a:gd name="T25" fmla="*/ 268 h 477"/>
                  <a:gd name="T26" fmla="*/ 258 w 277"/>
                  <a:gd name="T27" fmla="*/ 212 h 477"/>
                  <a:gd name="T28" fmla="*/ 280 w 277"/>
                  <a:gd name="T29" fmla="*/ 208 h 477"/>
                  <a:gd name="T30" fmla="*/ 298 w 277"/>
                  <a:gd name="T31" fmla="*/ 200 h 477"/>
                  <a:gd name="T32" fmla="*/ 302 w 277"/>
                  <a:gd name="T33" fmla="*/ 176 h 477"/>
                  <a:gd name="T34" fmla="*/ 284 w 277"/>
                  <a:gd name="T35" fmla="*/ 160 h 477"/>
                  <a:gd name="T36" fmla="*/ 276 w 277"/>
                  <a:gd name="T37" fmla="*/ 164 h 477"/>
                  <a:gd name="T38" fmla="*/ 267 w 277"/>
                  <a:gd name="T39" fmla="*/ 144 h 477"/>
                  <a:gd name="T40" fmla="*/ 267 w 277"/>
                  <a:gd name="T41" fmla="*/ 128 h 477"/>
                  <a:gd name="T42" fmla="*/ 249 w 277"/>
                  <a:gd name="T43" fmla="*/ 112 h 477"/>
                  <a:gd name="T44" fmla="*/ 193 w 277"/>
                  <a:gd name="T45" fmla="*/ 16 h 477"/>
                  <a:gd name="T46" fmla="*/ 175 w 277"/>
                  <a:gd name="T47" fmla="*/ 16 h 477"/>
                  <a:gd name="T48" fmla="*/ 162 w 277"/>
                  <a:gd name="T49" fmla="*/ 4 h 477"/>
                  <a:gd name="T50" fmla="*/ 136 w 277"/>
                  <a:gd name="T51" fmla="*/ 0 h 477"/>
                  <a:gd name="T52" fmla="*/ 127 w 277"/>
                  <a:gd name="T53" fmla="*/ 12 h 477"/>
                  <a:gd name="T54" fmla="*/ 123 w 277"/>
                  <a:gd name="T55" fmla="*/ 20 h 477"/>
                  <a:gd name="T56" fmla="*/ 105 w 277"/>
                  <a:gd name="T57" fmla="*/ 24 h 477"/>
                  <a:gd name="T58" fmla="*/ 96 w 277"/>
                  <a:gd name="T59" fmla="*/ 16 h 477"/>
                  <a:gd name="T60" fmla="*/ 79 w 277"/>
                  <a:gd name="T61" fmla="*/ 16 h 477"/>
                  <a:gd name="T62" fmla="*/ 44 w 277"/>
                  <a:gd name="T63" fmla="*/ 128 h 477"/>
                  <a:gd name="T64" fmla="*/ 44 w 277"/>
                  <a:gd name="T65" fmla="*/ 208 h 477"/>
                  <a:gd name="T66" fmla="*/ 31 w 277"/>
                  <a:gd name="T67" fmla="*/ 224 h 477"/>
                  <a:gd name="T68" fmla="*/ 26 w 277"/>
                  <a:gd name="T69" fmla="*/ 244 h 477"/>
                  <a:gd name="T70" fmla="*/ 18 w 277"/>
                  <a:gd name="T71" fmla="*/ 248 h 477"/>
                  <a:gd name="T72" fmla="*/ 18 w 277"/>
                  <a:gd name="T73" fmla="*/ 260 h 477"/>
                  <a:gd name="T74" fmla="*/ 0 w 277"/>
                  <a:gd name="T75" fmla="*/ 284 h 477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277"/>
                  <a:gd name="T115" fmla="*/ 0 h 477"/>
                  <a:gd name="T116" fmla="*/ 277 w 277"/>
                  <a:gd name="T117" fmla="*/ 477 h 477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277" h="477">
                    <a:moveTo>
                      <a:pt x="0" y="284"/>
                    </a:moveTo>
                    <a:lnTo>
                      <a:pt x="88" y="476"/>
                    </a:lnTo>
                    <a:lnTo>
                      <a:pt x="96" y="476"/>
                    </a:lnTo>
                    <a:lnTo>
                      <a:pt x="96" y="404"/>
                    </a:lnTo>
                    <a:lnTo>
                      <a:pt x="88" y="400"/>
                    </a:lnTo>
                    <a:lnTo>
                      <a:pt x="108" y="356"/>
                    </a:lnTo>
                    <a:lnTo>
                      <a:pt x="116" y="360"/>
                    </a:lnTo>
                    <a:lnTo>
                      <a:pt x="136" y="340"/>
                    </a:lnTo>
                    <a:lnTo>
                      <a:pt x="152" y="308"/>
                    </a:lnTo>
                    <a:lnTo>
                      <a:pt x="152" y="292"/>
                    </a:lnTo>
                    <a:lnTo>
                      <a:pt x="156" y="284"/>
                    </a:lnTo>
                    <a:lnTo>
                      <a:pt x="184" y="284"/>
                    </a:lnTo>
                    <a:lnTo>
                      <a:pt x="204" y="268"/>
                    </a:lnTo>
                    <a:lnTo>
                      <a:pt x="236" y="212"/>
                    </a:lnTo>
                    <a:lnTo>
                      <a:pt x="256" y="208"/>
                    </a:lnTo>
                    <a:lnTo>
                      <a:pt x="272" y="200"/>
                    </a:lnTo>
                    <a:lnTo>
                      <a:pt x="276" y="176"/>
                    </a:lnTo>
                    <a:lnTo>
                      <a:pt x="260" y="160"/>
                    </a:lnTo>
                    <a:lnTo>
                      <a:pt x="252" y="164"/>
                    </a:lnTo>
                    <a:lnTo>
                      <a:pt x="244" y="144"/>
                    </a:lnTo>
                    <a:lnTo>
                      <a:pt x="244" y="128"/>
                    </a:lnTo>
                    <a:lnTo>
                      <a:pt x="228" y="112"/>
                    </a:lnTo>
                    <a:lnTo>
                      <a:pt x="176" y="16"/>
                    </a:lnTo>
                    <a:lnTo>
                      <a:pt x="160" y="16"/>
                    </a:lnTo>
                    <a:lnTo>
                      <a:pt x="148" y="4"/>
                    </a:lnTo>
                    <a:lnTo>
                      <a:pt x="124" y="0"/>
                    </a:lnTo>
                    <a:lnTo>
                      <a:pt x="116" y="12"/>
                    </a:lnTo>
                    <a:lnTo>
                      <a:pt x="112" y="20"/>
                    </a:lnTo>
                    <a:lnTo>
                      <a:pt x="96" y="24"/>
                    </a:lnTo>
                    <a:lnTo>
                      <a:pt x="88" y="16"/>
                    </a:lnTo>
                    <a:lnTo>
                      <a:pt x="72" y="16"/>
                    </a:lnTo>
                    <a:lnTo>
                      <a:pt x="40" y="128"/>
                    </a:lnTo>
                    <a:lnTo>
                      <a:pt x="40" y="208"/>
                    </a:lnTo>
                    <a:lnTo>
                      <a:pt x="28" y="224"/>
                    </a:lnTo>
                    <a:lnTo>
                      <a:pt x="24" y="244"/>
                    </a:lnTo>
                    <a:lnTo>
                      <a:pt x="16" y="248"/>
                    </a:lnTo>
                    <a:lnTo>
                      <a:pt x="16" y="260"/>
                    </a:lnTo>
                    <a:lnTo>
                      <a:pt x="0" y="284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9" name="Freeform 74"/>
              <p:cNvSpPr>
                <a:spLocks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7776619" y="2392363"/>
                <a:ext cx="439749" cy="236538"/>
              </a:xfrm>
              <a:custGeom>
                <a:avLst/>
                <a:gdLst>
                  <a:gd name="T0" fmla="*/ 57 w 253"/>
                  <a:gd name="T1" fmla="*/ 52 h 149"/>
                  <a:gd name="T2" fmla="*/ 131 w 253"/>
                  <a:gd name="T3" fmla="*/ 32 h 149"/>
                  <a:gd name="T4" fmla="*/ 149 w 253"/>
                  <a:gd name="T5" fmla="*/ 8 h 149"/>
                  <a:gd name="T6" fmla="*/ 175 w 253"/>
                  <a:gd name="T7" fmla="*/ 0 h 149"/>
                  <a:gd name="T8" fmla="*/ 171 w 253"/>
                  <a:gd name="T9" fmla="*/ 12 h 149"/>
                  <a:gd name="T10" fmla="*/ 184 w 253"/>
                  <a:gd name="T11" fmla="*/ 24 h 149"/>
                  <a:gd name="T12" fmla="*/ 197 w 253"/>
                  <a:gd name="T13" fmla="*/ 24 h 149"/>
                  <a:gd name="T14" fmla="*/ 188 w 253"/>
                  <a:gd name="T15" fmla="*/ 36 h 149"/>
                  <a:gd name="T16" fmla="*/ 184 w 253"/>
                  <a:gd name="T17" fmla="*/ 44 h 149"/>
                  <a:gd name="T18" fmla="*/ 184 w 253"/>
                  <a:gd name="T19" fmla="*/ 56 h 149"/>
                  <a:gd name="T20" fmla="*/ 197 w 253"/>
                  <a:gd name="T21" fmla="*/ 60 h 149"/>
                  <a:gd name="T22" fmla="*/ 206 w 253"/>
                  <a:gd name="T23" fmla="*/ 60 h 149"/>
                  <a:gd name="T24" fmla="*/ 219 w 253"/>
                  <a:gd name="T25" fmla="*/ 72 h 149"/>
                  <a:gd name="T26" fmla="*/ 223 w 253"/>
                  <a:gd name="T27" fmla="*/ 92 h 149"/>
                  <a:gd name="T28" fmla="*/ 254 w 253"/>
                  <a:gd name="T29" fmla="*/ 92 h 149"/>
                  <a:gd name="T30" fmla="*/ 267 w 253"/>
                  <a:gd name="T31" fmla="*/ 84 h 149"/>
                  <a:gd name="T32" fmla="*/ 263 w 253"/>
                  <a:gd name="T33" fmla="*/ 76 h 149"/>
                  <a:gd name="T34" fmla="*/ 250 w 253"/>
                  <a:gd name="T35" fmla="*/ 68 h 149"/>
                  <a:gd name="T36" fmla="*/ 250 w 253"/>
                  <a:gd name="T37" fmla="*/ 64 h 149"/>
                  <a:gd name="T38" fmla="*/ 267 w 253"/>
                  <a:gd name="T39" fmla="*/ 72 h 149"/>
                  <a:gd name="T40" fmla="*/ 276 w 253"/>
                  <a:gd name="T41" fmla="*/ 84 h 149"/>
                  <a:gd name="T42" fmla="*/ 276 w 253"/>
                  <a:gd name="T43" fmla="*/ 96 h 149"/>
                  <a:gd name="T44" fmla="*/ 245 w 253"/>
                  <a:gd name="T45" fmla="*/ 108 h 149"/>
                  <a:gd name="T46" fmla="*/ 236 w 253"/>
                  <a:gd name="T47" fmla="*/ 120 h 149"/>
                  <a:gd name="T48" fmla="*/ 223 w 253"/>
                  <a:gd name="T49" fmla="*/ 104 h 149"/>
                  <a:gd name="T50" fmla="*/ 219 w 253"/>
                  <a:gd name="T51" fmla="*/ 120 h 149"/>
                  <a:gd name="T52" fmla="*/ 210 w 253"/>
                  <a:gd name="T53" fmla="*/ 132 h 149"/>
                  <a:gd name="T54" fmla="*/ 201 w 253"/>
                  <a:gd name="T55" fmla="*/ 132 h 149"/>
                  <a:gd name="T56" fmla="*/ 180 w 253"/>
                  <a:gd name="T57" fmla="*/ 112 h 149"/>
                  <a:gd name="T58" fmla="*/ 171 w 253"/>
                  <a:gd name="T59" fmla="*/ 112 h 149"/>
                  <a:gd name="T60" fmla="*/ 162 w 253"/>
                  <a:gd name="T61" fmla="*/ 100 h 149"/>
                  <a:gd name="T62" fmla="*/ 127 w 253"/>
                  <a:gd name="T63" fmla="*/ 112 h 149"/>
                  <a:gd name="T64" fmla="*/ 18 w 253"/>
                  <a:gd name="T65" fmla="*/ 148 h 149"/>
                  <a:gd name="T66" fmla="*/ 0 w 253"/>
                  <a:gd name="T67" fmla="*/ 72 h 149"/>
                  <a:gd name="T68" fmla="*/ 57 w 253"/>
                  <a:gd name="T69" fmla="*/ 52 h 149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253"/>
                  <a:gd name="T106" fmla="*/ 0 h 149"/>
                  <a:gd name="T107" fmla="*/ 253 w 253"/>
                  <a:gd name="T108" fmla="*/ 149 h 149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253" h="149">
                    <a:moveTo>
                      <a:pt x="52" y="52"/>
                    </a:moveTo>
                    <a:lnTo>
                      <a:pt x="120" y="32"/>
                    </a:lnTo>
                    <a:lnTo>
                      <a:pt x="136" y="8"/>
                    </a:lnTo>
                    <a:lnTo>
                      <a:pt x="160" y="0"/>
                    </a:lnTo>
                    <a:lnTo>
                      <a:pt x="156" y="12"/>
                    </a:lnTo>
                    <a:lnTo>
                      <a:pt x="168" y="24"/>
                    </a:lnTo>
                    <a:lnTo>
                      <a:pt x="180" y="24"/>
                    </a:lnTo>
                    <a:lnTo>
                      <a:pt x="172" y="36"/>
                    </a:lnTo>
                    <a:lnTo>
                      <a:pt x="168" y="44"/>
                    </a:lnTo>
                    <a:lnTo>
                      <a:pt x="168" y="56"/>
                    </a:lnTo>
                    <a:lnTo>
                      <a:pt x="180" y="60"/>
                    </a:lnTo>
                    <a:lnTo>
                      <a:pt x="188" y="60"/>
                    </a:lnTo>
                    <a:lnTo>
                      <a:pt x="200" y="72"/>
                    </a:lnTo>
                    <a:lnTo>
                      <a:pt x="204" y="92"/>
                    </a:lnTo>
                    <a:lnTo>
                      <a:pt x="232" y="92"/>
                    </a:lnTo>
                    <a:lnTo>
                      <a:pt x="244" y="84"/>
                    </a:lnTo>
                    <a:lnTo>
                      <a:pt x="240" y="76"/>
                    </a:lnTo>
                    <a:lnTo>
                      <a:pt x="228" y="68"/>
                    </a:lnTo>
                    <a:lnTo>
                      <a:pt x="228" y="64"/>
                    </a:lnTo>
                    <a:lnTo>
                      <a:pt x="244" y="72"/>
                    </a:lnTo>
                    <a:lnTo>
                      <a:pt x="252" y="84"/>
                    </a:lnTo>
                    <a:lnTo>
                      <a:pt x="252" y="96"/>
                    </a:lnTo>
                    <a:lnTo>
                      <a:pt x="224" y="108"/>
                    </a:lnTo>
                    <a:lnTo>
                      <a:pt x="216" y="120"/>
                    </a:lnTo>
                    <a:lnTo>
                      <a:pt x="204" y="104"/>
                    </a:lnTo>
                    <a:lnTo>
                      <a:pt x="200" y="120"/>
                    </a:lnTo>
                    <a:lnTo>
                      <a:pt x="192" y="132"/>
                    </a:lnTo>
                    <a:lnTo>
                      <a:pt x="184" y="132"/>
                    </a:lnTo>
                    <a:lnTo>
                      <a:pt x="164" y="112"/>
                    </a:lnTo>
                    <a:lnTo>
                      <a:pt x="156" y="112"/>
                    </a:lnTo>
                    <a:lnTo>
                      <a:pt x="148" y="100"/>
                    </a:lnTo>
                    <a:lnTo>
                      <a:pt x="116" y="112"/>
                    </a:lnTo>
                    <a:lnTo>
                      <a:pt x="16" y="148"/>
                    </a:lnTo>
                    <a:lnTo>
                      <a:pt x="0" y="72"/>
                    </a:lnTo>
                    <a:lnTo>
                      <a:pt x="52" y="52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0" name="Freeform 75"/>
              <p:cNvSpPr>
                <a:spLocks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7805194" y="2570163"/>
                <a:ext cx="209555" cy="206375"/>
              </a:xfrm>
              <a:custGeom>
                <a:avLst/>
                <a:gdLst>
                  <a:gd name="T0" fmla="*/ 17 w 121"/>
                  <a:gd name="T1" fmla="*/ 129 h 130"/>
                  <a:gd name="T2" fmla="*/ 131 w 121"/>
                  <a:gd name="T3" fmla="*/ 53 h 130"/>
                  <a:gd name="T4" fmla="*/ 109 w 121"/>
                  <a:gd name="T5" fmla="*/ 0 h 130"/>
                  <a:gd name="T6" fmla="*/ 0 w 121"/>
                  <a:gd name="T7" fmla="*/ 36 h 130"/>
                  <a:gd name="T8" fmla="*/ 13 w 121"/>
                  <a:gd name="T9" fmla="*/ 97 h 130"/>
                  <a:gd name="T10" fmla="*/ 22 w 121"/>
                  <a:gd name="T11" fmla="*/ 105 h 130"/>
                  <a:gd name="T12" fmla="*/ 13 w 121"/>
                  <a:gd name="T13" fmla="*/ 121 h 130"/>
                  <a:gd name="T14" fmla="*/ 17 w 121"/>
                  <a:gd name="T15" fmla="*/ 129 h 13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1"/>
                  <a:gd name="T25" fmla="*/ 0 h 130"/>
                  <a:gd name="T26" fmla="*/ 121 w 121"/>
                  <a:gd name="T27" fmla="*/ 130 h 13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1" h="130">
                    <a:moveTo>
                      <a:pt x="16" y="129"/>
                    </a:moveTo>
                    <a:lnTo>
                      <a:pt x="120" y="53"/>
                    </a:lnTo>
                    <a:lnTo>
                      <a:pt x="100" y="0"/>
                    </a:lnTo>
                    <a:lnTo>
                      <a:pt x="0" y="36"/>
                    </a:lnTo>
                    <a:lnTo>
                      <a:pt x="12" y="97"/>
                    </a:lnTo>
                    <a:lnTo>
                      <a:pt x="20" y="105"/>
                    </a:lnTo>
                    <a:lnTo>
                      <a:pt x="12" y="121"/>
                    </a:lnTo>
                    <a:lnTo>
                      <a:pt x="16" y="129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1" name="Freeform 76"/>
              <p:cNvSpPr>
                <a:spLocks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7978236" y="2551113"/>
                <a:ext cx="98428" cy="104775"/>
              </a:xfrm>
              <a:custGeom>
                <a:avLst/>
                <a:gdLst>
                  <a:gd name="T0" fmla="*/ 0 w 57"/>
                  <a:gd name="T1" fmla="*/ 12 h 66"/>
                  <a:gd name="T2" fmla="*/ 22 w 57"/>
                  <a:gd name="T3" fmla="*/ 65 h 66"/>
                  <a:gd name="T4" fmla="*/ 57 w 57"/>
                  <a:gd name="T5" fmla="*/ 44 h 66"/>
                  <a:gd name="T6" fmla="*/ 57 w 57"/>
                  <a:gd name="T7" fmla="*/ 32 h 66"/>
                  <a:gd name="T8" fmla="*/ 61 w 57"/>
                  <a:gd name="T9" fmla="*/ 20 h 66"/>
                  <a:gd name="T10" fmla="*/ 52 w 57"/>
                  <a:gd name="T11" fmla="*/ 12 h 66"/>
                  <a:gd name="T12" fmla="*/ 44 w 57"/>
                  <a:gd name="T13" fmla="*/ 12 h 66"/>
                  <a:gd name="T14" fmla="*/ 35 w 57"/>
                  <a:gd name="T15" fmla="*/ 0 h 66"/>
                  <a:gd name="T16" fmla="*/ 0 w 57"/>
                  <a:gd name="T17" fmla="*/ 12 h 6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7"/>
                  <a:gd name="T28" fmla="*/ 0 h 66"/>
                  <a:gd name="T29" fmla="*/ 57 w 57"/>
                  <a:gd name="T30" fmla="*/ 66 h 6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7" h="66">
                    <a:moveTo>
                      <a:pt x="0" y="12"/>
                    </a:moveTo>
                    <a:lnTo>
                      <a:pt x="20" y="65"/>
                    </a:lnTo>
                    <a:lnTo>
                      <a:pt x="52" y="44"/>
                    </a:lnTo>
                    <a:lnTo>
                      <a:pt x="52" y="32"/>
                    </a:lnTo>
                    <a:lnTo>
                      <a:pt x="56" y="20"/>
                    </a:lnTo>
                    <a:lnTo>
                      <a:pt x="48" y="12"/>
                    </a:lnTo>
                    <a:lnTo>
                      <a:pt x="40" y="12"/>
                    </a:lnTo>
                    <a:lnTo>
                      <a:pt x="32" y="0"/>
                    </a:lnTo>
                    <a:lnTo>
                      <a:pt x="0" y="12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2" name="Freeform 77"/>
              <p:cNvSpPr>
                <a:spLocks/>
              </p:cNvSpPr>
              <p:nvPr>
                <p:custDataLst>
                  <p:tags r:id="rId46"/>
                </p:custDataLst>
              </p:nvPr>
            </p:nvSpPr>
            <p:spPr bwMode="gray">
              <a:xfrm>
                <a:off x="6957447" y="2692400"/>
                <a:ext cx="773133" cy="503238"/>
              </a:xfrm>
              <a:custGeom>
                <a:avLst/>
                <a:gdLst>
                  <a:gd name="T0" fmla="*/ 53 w 445"/>
                  <a:gd name="T1" fmla="*/ 316 h 317"/>
                  <a:gd name="T2" fmla="*/ 140 w 445"/>
                  <a:gd name="T3" fmla="*/ 296 h 317"/>
                  <a:gd name="T4" fmla="*/ 420 w 445"/>
                  <a:gd name="T5" fmla="*/ 236 h 317"/>
                  <a:gd name="T6" fmla="*/ 433 w 445"/>
                  <a:gd name="T7" fmla="*/ 212 h 317"/>
                  <a:gd name="T8" fmla="*/ 460 w 445"/>
                  <a:gd name="T9" fmla="*/ 220 h 317"/>
                  <a:gd name="T10" fmla="*/ 464 w 445"/>
                  <a:gd name="T11" fmla="*/ 196 h 317"/>
                  <a:gd name="T12" fmla="*/ 464 w 445"/>
                  <a:gd name="T13" fmla="*/ 184 h 317"/>
                  <a:gd name="T14" fmla="*/ 486 w 445"/>
                  <a:gd name="T15" fmla="*/ 168 h 317"/>
                  <a:gd name="T16" fmla="*/ 477 w 445"/>
                  <a:gd name="T17" fmla="*/ 156 h 317"/>
                  <a:gd name="T18" fmla="*/ 464 w 445"/>
                  <a:gd name="T19" fmla="*/ 156 h 317"/>
                  <a:gd name="T20" fmla="*/ 455 w 445"/>
                  <a:gd name="T21" fmla="*/ 148 h 317"/>
                  <a:gd name="T22" fmla="*/ 464 w 445"/>
                  <a:gd name="T23" fmla="*/ 128 h 317"/>
                  <a:gd name="T24" fmla="*/ 447 w 445"/>
                  <a:gd name="T25" fmla="*/ 116 h 317"/>
                  <a:gd name="T26" fmla="*/ 455 w 445"/>
                  <a:gd name="T27" fmla="*/ 96 h 317"/>
                  <a:gd name="T28" fmla="*/ 455 w 445"/>
                  <a:gd name="T29" fmla="*/ 80 h 317"/>
                  <a:gd name="T30" fmla="*/ 464 w 445"/>
                  <a:gd name="T31" fmla="*/ 64 h 317"/>
                  <a:gd name="T32" fmla="*/ 451 w 445"/>
                  <a:gd name="T33" fmla="*/ 56 h 317"/>
                  <a:gd name="T34" fmla="*/ 442 w 445"/>
                  <a:gd name="T35" fmla="*/ 32 h 317"/>
                  <a:gd name="T36" fmla="*/ 425 w 445"/>
                  <a:gd name="T37" fmla="*/ 24 h 317"/>
                  <a:gd name="T38" fmla="*/ 411 w 445"/>
                  <a:gd name="T39" fmla="*/ 16 h 317"/>
                  <a:gd name="T40" fmla="*/ 398 w 445"/>
                  <a:gd name="T41" fmla="*/ 0 h 317"/>
                  <a:gd name="T42" fmla="*/ 57 w 445"/>
                  <a:gd name="T43" fmla="*/ 84 h 317"/>
                  <a:gd name="T44" fmla="*/ 53 w 445"/>
                  <a:gd name="T45" fmla="*/ 64 h 317"/>
                  <a:gd name="T46" fmla="*/ 0 w 445"/>
                  <a:gd name="T47" fmla="*/ 96 h 317"/>
                  <a:gd name="T48" fmla="*/ 35 w 445"/>
                  <a:gd name="T49" fmla="*/ 244 h 317"/>
                  <a:gd name="T50" fmla="*/ 53 w 445"/>
                  <a:gd name="T51" fmla="*/ 316 h 317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445"/>
                  <a:gd name="T79" fmla="*/ 0 h 317"/>
                  <a:gd name="T80" fmla="*/ 445 w 445"/>
                  <a:gd name="T81" fmla="*/ 317 h 317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445" h="317">
                    <a:moveTo>
                      <a:pt x="48" y="316"/>
                    </a:moveTo>
                    <a:lnTo>
                      <a:pt x="128" y="296"/>
                    </a:lnTo>
                    <a:lnTo>
                      <a:pt x="384" y="236"/>
                    </a:lnTo>
                    <a:lnTo>
                      <a:pt x="396" y="212"/>
                    </a:lnTo>
                    <a:lnTo>
                      <a:pt x="420" y="220"/>
                    </a:lnTo>
                    <a:lnTo>
                      <a:pt x="424" y="196"/>
                    </a:lnTo>
                    <a:lnTo>
                      <a:pt x="424" y="184"/>
                    </a:lnTo>
                    <a:lnTo>
                      <a:pt x="444" y="168"/>
                    </a:lnTo>
                    <a:lnTo>
                      <a:pt x="436" y="156"/>
                    </a:lnTo>
                    <a:lnTo>
                      <a:pt x="424" y="156"/>
                    </a:lnTo>
                    <a:lnTo>
                      <a:pt x="416" y="148"/>
                    </a:lnTo>
                    <a:lnTo>
                      <a:pt x="424" y="128"/>
                    </a:lnTo>
                    <a:lnTo>
                      <a:pt x="408" y="116"/>
                    </a:lnTo>
                    <a:lnTo>
                      <a:pt x="416" y="96"/>
                    </a:lnTo>
                    <a:lnTo>
                      <a:pt x="416" y="80"/>
                    </a:lnTo>
                    <a:lnTo>
                      <a:pt x="424" y="64"/>
                    </a:lnTo>
                    <a:lnTo>
                      <a:pt x="412" y="56"/>
                    </a:lnTo>
                    <a:lnTo>
                      <a:pt x="404" y="32"/>
                    </a:lnTo>
                    <a:lnTo>
                      <a:pt x="388" y="24"/>
                    </a:lnTo>
                    <a:lnTo>
                      <a:pt x="376" y="16"/>
                    </a:lnTo>
                    <a:lnTo>
                      <a:pt x="364" y="0"/>
                    </a:lnTo>
                    <a:lnTo>
                      <a:pt x="52" y="84"/>
                    </a:lnTo>
                    <a:lnTo>
                      <a:pt x="48" y="64"/>
                    </a:lnTo>
                    <a:lnTo>
                      <a:pt x="0" y="96"/>
                    </a:lnTo>
                    <a:lnTo>
                      <a:pt x="32" y="244"/>
                    </a:lnTo>
                    <a:lnTo>
                      <a:pt x="48" y="316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3" name="Freeform 78"/>
              <p:cNvSpPr>
                <a:spLocks/>
              </p:cNvSpPr>
              <p:nvPr>
                <p:custDataLst>
                  <p:tags r:id="rId47"/>
                </p:custDataLst>
              </p:nvPr>
            </p:nvSpPr>
            <p:spPr bwMode="gray">
              <a:xfrm>
                <a:off x="7665491" y="2794000"/>
                <a:ext cx="168279" cy="363538"/>
              </a:xfrm>
              <a:custGeom>
                <a:avLst/>
                <a:gdLst>
                  <a:gd name="T0" fmla="*/ 17 w 97"/>
                  <a:gd name="T1" fmla="*/ 0 h 229"/>
                  <a:gd name="T2" fmla="*/ 96 w 97"/>
                  <a:gd name="T3" fmla="*/ 12 h 229"/>
                  <a:gd name="T4" fmla="*/ 96 w 97"/>
                  <a:gd name="T5" fmla="*/ 40 h 229"/>
                  <a:gd name="T6" fmla="*/ 83 w 97"/>
                  <a:gd name="T7" fmla="*/ 76 h 229"/>
                  <a:gd name="T8" fmla="*/ 87 w 97"/>
                  <a:gd name="T9" fmla="*/ 84 h 229"/>
                  <a:gd name="T10" fmla="*/ 101 w 97"/>
                  <a:gd name="T11" fmla="*/ 80 h 229"/>
                  <a:gd name="T12" fmla="*/ 105 w 97"/>
                  <a:gd name="T13" fmla="*/ 92 h 229"/>
                  <a:gd name="T14" fmla="*/ 105 w 97"/>
                  <a:gd name="T15" fmla="*/ 132 h 229"/>
                  <a:gd name="T16" fmla="*/ 92 w 97"/>
                  <a:gd name="T17" fmla="*/ 184 h 229"/>
                  <a:gd name="T18" fmla="*/ 79 w 97"/>
                  <a:gd name="T19" fmla="*/ 220 h 229"/>
                  <a:gd name="T20" fmla="*/ 66 w 97"/>
                  <a:gd name="T21" fmla="*/ 228 h 229"/>
                  <a:gd name="T22" fmla="*/ 66 w 97"/>
                  <a:gd name="T23" fmla="*/ 216 h 229"/>
                  <a:gd name="T24" fmla="*/ 52 w 97"/>
                  <a:gd name="T25" fmla="*/ 212 h 229"/>
                  <a:gd name="T26" fmla="*/ 39 w 97"/>
                  <a:gd name="T27" fmla="*/ 212 h 229"/>
                  <a:gd name="T28" fmla="*/ 22 w 97"/>
                  <a:gd name="T29" fmla="*/ 196 h 229"/>
                  <a:gd name="T30" fmla="*/ 9 w 97"/>
                  <a:gd name="T31" fmla="*/ 180 h 229"/>
                  <a:gd name="T32" fmla="*/ 13 w 97"/>
                  <a:gd name="T33" fmla="*/ 156 h 229"/>
                  <a:gd name="T34" fmla="*/ 17 w 97"/>
                  <a:gd name="T35" fmla="*/ 132 h 229"/>
                  <a:gd name="T36" fmla="*/ 17 w 97"/>
                  <a:gd name="T37" fmla="*/ 120 h 229"/>
                  <a:gd name="T38" fmla="*/ 39 w 97"/>
                  <a:gd name="T39" fmla="*/ 104 h 229"/>
                  <a:gd name="T40" fmla="*/ 31 w 97"/>
                  <a:gd name="T41" fmla="*/ 92 h 229"/>
                  <a:gd name="T42" fmla="*/ 17 w 97"/>
                  <a:gd name="T43" fmla="*/ 92 h 229"/>
                  <a:gd name="T44" fmla="*/ 9 w 97"/>
                  <a:gd name="T45" fmla="*/ 84 h 229"/>
                  <a:gd name="T46" fmla="*/ 17 w 97"/>
                  <a:gd name="T47" fmla="*/ 64 h 229"/>
                  <a:gd name="T48" fmla="*/ 0 w 97"/>
                  <a:gd name="T49" fmla="*/ 52 h 229"/>
                  <a:gd name="T50" fmla="*/ 9 w 97"/>
                  <a:gd name="T51" fmla="*/ 32 h 229"/>
                  <a:gd name="T52" fmla="*/ 9 w 97"/>
                  <a:gd name="T53" fmla="*/ 16 h 229"/>
                  <a:gd name="T54" fmla="*/ 17 w 97"/>
                  <a:gd name="T55" fmla="*/ 0 h 229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97"/>
                  <a:gd name="T85" fmla="*/ 0 h 229"/>
                  <a:gd name="T86" fmla="*/ 97 w 97"/>
                  <a:gd name="T87" fmla="*/ 229 h 229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97" h="229">
                    <a:moveTo>
                      <a:pt x="16" y="0"/>
                    </a:moveTo>
                    <a:lnTo>
                      <a:pt x="88" y="12"/>
                    </a:lnTo>
                    <a:lnTo>
                      <a:pt x="88" y="40"/>
                    </a:lnTo>
                    <a:lnTo>
                      <a:pt x="76" y="76"/>
                    </a:lnTo>
                    <a:lnTo>
                      <a:pt x="80" y="84"/>
                    </a:lnTo>
                    <a:lnTo>
                      <a:pt x="92" y="80"/>
                    </a:lnTo>
                    <a:lnTo>
                      <a:pt x="96" y="92"/>
                    </a:lnTo>
                    <a:lnTo>
                      <a:pt x="96" y="132"/>
                    </a:lnTo>
                    <a:lnTo>
                      <a:pt x="84" y="184"/>
                    </a:lnTo>
                    <a:lnTo>
                      <a:pt x="72" y="220"/>
                    </a:lnTo>
                    <a:lnTo>
                      <a:pt x="60" y="228"/>
                    </a:lnTo>
                    <a:lnTo>
                      <a:pt x="60" y="216"/>
                    </a:lnTo>
                    <a:lnTo>
                      <a:pt x="48" y="212"/>
                    </a:lnTo>
                    <a:lnTo>
                      <a:pt x="36" y="212"/>
                    </a:lnTo>
                    <a:lnTo>
                      <a:pt x="20" y="196"/>
                    </a:lnTo>
                    <a:lnTo>
                      <a:pt x="8" y="180"/>
                    </a:lnTo>
                    <a:lnTo>
                      <a:pt x="12" y="156"/>
                    </a:lnTo>
                    <a:lnTo>
                      <a:pt x="16" y="132"/>
                    </a:lnTo>
                    <a:lnTo>
                      <a:pt x="16" y="120"/>
                    </a:lnTo>
                    <a:lnTo>
                      <a:pt x="36" y="104"/>
                    </a:lnTo>
                    <a:lnTo>
                      <a:pt x="28" y="92"/>
                    </a:lnTo>
                    <a:lnTo>
                      <a:pt x="16" y="92"/>
                    </a:lnTo>
                    <a:lnTo>
                      <a:pt x="8" y="84"/>
                    </a:lnTo>
                    <a:lnTo>
                      <a:pt x="16" y="64"/>
                    </a:lnTo>
                    <a:lnTo>
                      <a:pt x="0" y="52"/>
                    </a:lnTo>
                    <a:lnTo>
                      <a:pt x="8" y="32"/>
                    </a:lnTo>
                    <a:lnTo>
                      <a:pt x="8" y="16"/>
                    </a:lnTo>
                    <a:lnTo>
                      <a:pt x="16" y="0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4" name="Freeform 79"/>
              <p:cNvSpPr>
                <a:spLocks/>
              </p:cNvSpPr>
              <p:nvPr>
                <p:custDataLst>
                  <p:tags r:id="rId48"/>
                </p:custDataLst>
              </p:nvPr>
            </p:nvSpPr>
            <p:spPr bwMode="gray">
              <a:xfrm>
                <a:off x="7041587" y="2138363"/>
                <a:ext cx="800121" cy="688975"/>
              </a:xfrm>
              <a:custGeom>
                <a:avLst/>
                <a:gdLst>
                  <a:gd name="T0" fmla="*/ 302 w 461"/>
                  <a:gd name="T1" fmla="*/ 24 h 434"/>
                  <a:gd name="T2" fmla="*/ 258 w 461"/>
                  <a:gd name="T3" fmla="*/ 44 h 434"/>
                  <a:gd name="T4" fmla="*/ 227 w 461"/>
                  <a:gd name="T5" fmla="*/ 88 h 434"/>
                  <a:gd name="T6" fmla="*/ 214 w 461"/>
                  <a:gd name="T7" fmla="*/ 128 h 434"/>
                  <a:gd name="T8" fmla="*/ 184 w 461"/>
                  <a:gd name="T9" fmla="*/ 164 h 434"/>
                  <a:gd name="T10" fmla="*/ 201 w 461"/>
                  <a:gd name="T11" fmla="*/ 188 h 434"/>
                  <a:gd name="T12" fmla="*/ 201 w 461"/>
                  <a:gd name="T13" fmla="*/ 212 h 434"/>
                  <a:gd name="T14" fmla="*/ 184 w 461"/>
                  <a:gd name="T15" fmla="*/ 240 h 434"/>
                  <a:gd name="T16" fmla="*/ 149 w 461"/>
                  <a:gd name="T17" fmla="*/ 256 h 434"/>
                  <a:gd name="T18" fmla="*/ 114 w 461"/>
                  <a:gd name="T19" fmla="*/ 260 h 434"/>
                  <a:gd name="T20" fmla="*/ 61 w 461"/>
                  <a:gd name="T21" fmla="*/ 268 h 434"/>
                  <a:gd name="T22" fmla="*/ 31 w 461"/>
                  <a:gd name="T23" fmla="*/ 284 h 434"/>
                  <a:gd name="T24" fmla="*/ 9 w 461"/>
                  <a:gd name="T25" fmla="*/ 313 h 434"/>
                  <a:gd name="T26" fmla="*/ 31 w 461"/>
                  <a:gd name="T27" fmla="*/ 333 h 434"/>
                  <a:gd name="T28" fmla="*/ 35 w 461"/>
                  <a:gd name="T29" fmla="*/ 353 h 434"/>
                  <a:gd name="T30" fmla="*/ 26 w 461"/>
                  <a:gd name="T31" fmla="*/ 381 h 434"/>
                  <a:gd name="T32" fmla="*/ 0 w 461"/>
                  <a:gd name="T33" fmla="*/ 413 h 434"/>
                  <a:gd name="T34" fmla="*/ 4 w 461"/>
                  <a:gd name="T35" fmla="*/ 433 h 434"/>
                  <a:gd name="T36" fmla="*/ 345 w 461"/>
                  <a:gd name="T37" fmla="*/ 349 h 434"/>
                  <a:gd name="T38" fmla="*/ 359 w 461"/>
                  <a:gd name="T39" fmla="*/ 365 h 434"/>
                  <a:gd name="T40" fmla="*/ 372 w 461"/>
                  <a:gd name="T41" fmla="*/ 373 h 434"/>
                  <a:gd name="T42" fmla="*/ 389 w 461"/>
                  <a:gd name="T43" fmla="*/ 381 h 434"/>
                  <a:gd name="T44" fmla="*/ 398 w 461"/>
                  <a:gd name="T45" fmla="*/ 405 h 434"/>
                  <a:gd name="T46" fmla="*/ 411 w 461"/>
                  <a:gd name="T47" fmla="*/ 413 h 434"/>
                  <a:gd name="T48" fmla="*/ 490 w 461"/>
                  <a:gd name="T49" fmla="*/ 425 h 434"/>
                  <a:gd name="T50" fmla="*/ 499 w 461"/>
                  <a:gd name="T51" fmla="*/ 401 h 434"/>
                  <a:gd name="T52" fmla="*/ 494 w 461"/>
                  <a:gd name="T53" fmla="*/ 393 h 434"/>
                  <a:gd name="T54" fmla="*/ 503 w 461"/>
                  <a:gd name="T55" fmla="*/ 377 h 434"/>
                  <a:gd name="T56" fmla="*/ 494 w 461"/>
                  <a:gd name="T57" fmla="*/ 369 h 434"/>
                  <a:gd name="T58" fmla="*/ 481 w 461"/>
                  <a:gd name="T59" fmla="*/ 308 h 434"/>
                  <a:gd name="T60" fmla="*/ 464 w 461"/>
                  <a:gd name="T61" fmla="*/ 232 h 434"/>
                  <a:gd name="T62" fmla="*/ 450 w 461"/>
                  <a:gd name="T63" fmla="*/ 168 h 434"/>
                  <a:gd name="T64" fmla="*/ 446 w 461"/>
                  <a:gd name="T65" fmla="*/ 160 h 434"/>
                  <a:gd name="T66" fmla="*/ 433 w 461"/>
                  <a:gd name="T67" fmla="*/ 152 h 434"/>
                  <a:gd name="T68" fmla="*/ 424 w 461"/>
                  <a:gd name="T69" fmla="*/ 100 h 434"/>
                  <a:gd name="T70" fmla="*/ 394 w 461"/>
                  <a:gd name="T71" fmla="*/ 52 h 434"/>
                  <a:gd name="T72" fmla="*/ 389 w 461"/>
                  <a:gd name="T73" fmla="*/ 0 h 434"/>
                  <a:gd name="T74" fmla="*/ 302 w 461"/>
                  <a:gd name="T75" fmla="*/ 24 h 43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461"/>
                  <a:gd name="T115" fmla="*/ 0 h 434"/>
                  <a:gd name="T116" fmla="*/ 461 w 461"/>
                  <a:gd name="T117" fmla="*/ 434 h 434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461" h="434">
                    <a:moveTo>
                      <a:pt x="276" y="24"/>
                    </a:moveTo>
                    <a:lnTo>
                      <a:pt x="236" y="44"/>
                    </a:lnTo>
                    <a:lnTo>
                      <a:pt x="208" y="88"/>
                    </a:lnTo>
                    <a:lnTo>
                      <a:pt x="196" y="128"/>
                    </a:lnTo>
                    <a:lnTo>
                      <a:pt x="168" y="164"/>
                    </a:lnTo>
                    <a:lnTo>
                      <a:pt x="184" y="188"/>
                    </a:lnTo>
                    <a:lnTo>
                      <a:pt x="184" y="212"/>
                    </a:lnTo>
                    <a:lnTo>
                      <a:pt x="168" y="240"/>
                    </a:lnTo>
                    <a:lnTo>
                      <a:pt x="136" y="256"/>
                    </a:lnTo>
                    <a:lnTo>
                      <a:pt x="104" y="260"/>
                    </a:lnTo>
                    <a:lnTo>
                      <a:pt x="56" y="268"/>
                    </a:lnTo>
                    <a:lnTo>
                      <a:pt x="28" y="284"/>
                    </a:lnTo>
                    <a:lnTo>
                      <a:pt x="8" y="313"/>
                    </a:lnTo>
                    <a:lnTo>
                      <a:pt x="28" y="333"/>
                    </a:lnTo>
                    <a:lnTo>
                      <a:pt x="32" y="353"/>
                    </a:lnTo>
                    <a:lnTo>
                      <a:pt x="24" y="381"/>
                    </a:lnTo>
                    <a:lnTo>
                      <a:pt x="0" y="413"/>
                    </a:lnTo>
                    <a:lnTo>
                      <a:pt x="4" y="433"/>
                    </a:lnTo>
                    <a:lnTo>
                      <a:pt x="316" y="349"/>
                    </a:lnTo>
                    <a:lnTo>
                      <a:pt x="328" y="365"/>
                    </a:lnTo>
                    <a:lnTo>
                      <a:pt x="340" y="373"/>
                    </a:lnTo>
                    <a:lnTo>
                      <a:pt x="356" y="381"/>
                    </a:lnTo>
                    <a:lnTo>
                      <a:pt x="364" y="405"/>
                    </a:lnTo>
                    <a:lnTo>
                      <a:pt x="376" y="413"/>
                    </a:lnTo>
                    <a:lnTo>
                      <a:pt x="448" y="425"/>
                    </a:lnTo>
                    <a:lnTo>
                      <a:pt x="456" y="401"/>
                    </a:lnTo>
                    <a:lnTo>
                      <a:pt x="452" y="393"/>
                    </a:lnTo>
                    <a:lnTo>
                      <a:pt x="460" y="377"/>
                    </a:lnTo>
                    <a:lnTo>
                      <a:pt x="452" y="369"/>
                    </a:lnTo>
                    <a:lnTo>
                      <a:pt x="440" y="308"/>
                    </a:lnTo>
                    <a:lnTo>
                      <a:pt x="424" y="232"/>
                    </a:lnTo>
                    <a:lnTo>
                      <a:pt x="412" y="168"/>
                    </a:lnTo>
                    <a:lnTo>
                      <a:pt x="408" y="160"/>
                    </a:lnTo>
                    <a:lnTo>
                      <a:pt x="396" y="152"/>
                    </a:lnTo>
                    <a:lnTo>
                      <a:pt x="388" y="100"/>
                    </a:lnTo>
                    <a:lnTo>
                      <a:pt x="360" y="52"/>
                    </a:lnTo>
                    <a:lnTo>
                      <a:pt x="356" y="0"/>
                    </a:lnTo>
                    <a:lnTo>
                      <a:pt x="276" y="24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5" name="Freeform 80"/>
              <p:cNvSpPr>
                <a:spLocks/>
              </p:cNvSpPr>
              <p:nvPr>
                <p:custDataLst>
                  <p:tags r:id="rId49"/>
                </p:custDataLst>
              </p:nvPr>
            </p:nvSpPr>
            <p:spPr bwMode="gray">
              <a:xfrm>
                <a:off x="7832183" y="2717800"/>
                <a:ext cx="211143" cy="109538"/>
              </a:xfrm>
              <a:custGeom>
                <a:avLst/>
                <a:gdLst>
                  <a:gd name="T0" fmla="*/ 22 w 121"/>
                  <a:gd name="T1" fmla="*/ 36 h 69"/>
                  <a:gd name="T2" fmla="*/ 66 w 121"/>
                  <a:gd name="T3" fmla="*/ 20 h 69"/>
                  <a:gd name="T4" fmla="*/ 97 w 121"/>
                  <a:gd name="T5" fmla="*/ 0 h 69"/>
                  <a:gd name="T6" fmla="*/ 106 w 121"/>
                  <a:gd name="T7" fmla="*/ 8 h 69"/>
                  <a:gd name="T8" fmla="*/ 132 w 121"/>
                  <a:gd name="T9" fmla="*/ 0 h 69"/>
                  <a:gd name="T10" fmla="*/ 92 w 121"/>
                  <a:gd name="T11" fmla="*/ 32 h 69"/>
                  <a:gd name="T12" fmla="*/ 48 w 121"/>
                  <a:gd name="T13" fmla="*/ 52 h 69"/>
                  <a:gd name="T14" fmla="*/ 18 w 121"/>
                  <a:gd name="T15" fmla="*/ 68 h 69"/>
                  <a:gd name="T16" fmla="*/ 0 w 121"/>
                  <a:gd name="T17" fmla="*/ 68 h 69"/>
                  <a:gd name="T18" fmla="*/ 22 w 121"/>
                  <a:gd name="T19" fmla="*/ 36 h 6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21"/>
                  <a:gd name="T31" fmla="*/ 0 h 69"/>
                  <a:gd name="T32" fmla="*/ 121 w 121"/>
                  <a:gd name="T33" fmla="*/ 69 h 69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21" h="69">
                    <a:moveTo>
                      <a:pt x="20" y="36"/>
                    </a:moveTo>
                    <a:lnTo>
                      <a:pt x="60" y="20"/>
                    </a:lnTo>
                    <a:lnTo>
                      <a:pt x="88" y="0"/>
                    </a:lnTo>
                    <a:lnTo>
                      <a:pt x="96" y="8"/>
                    </a:lnTo>
                    <a:lnTo>
                      <a:pt x="120" y="0"/>
                    </a:lnTo>
                    <a:lnTo>
                      <a:pt x="84" y="32"/>
                    </a:lnTo>
                    <a:lnTo>
                      <a:pt x="44" y="52"/>
                    </a:lnTo>
                    <a:lnTo>
                      <a:pt x="16" y="68"/>
                    </a:lnTo>
                    <a:lnTo>
                      <a:pt x="0" y="68"/>
                    </a:lnTo>
                    <a:lnTo>
                      <a:pt x="20" y="36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6" name="Freeform 69"/>
              <p:cNvSpPr>
                <a:spLocks/>
              </p:cNvSpPr>
              <p:nvPr/>
            </p:nvSpPr>
            <p:spPr bwMode="gray">
              <a:xfrm>
                <a:off x="6169843" y="2379663"/>
                <a:ext cx="509785" cy="644525"/>
              </a:xfrm>
              <a:custGeom>
                <a:avLst/>
                <a:gdLst>
                  <a:gd name="T0" fmla="*/ 292 w 293"/>
                  <a:gd name="T1" fmla="*/ 249 h 406"/>
                  <a:gd name="T2" fmla="*/ 292 w 293"/>
                  <a:gd name="T3" fmla="*/ 221 h 406"/>
                  <a:gd name="T4" fmla="*/ 252 w 293"/>
                  <a:gd name="T5" fmla="*/ 132 h 406"/>
                  <a:gd name="T6" fmla="*/ 232 w 293"/>
                  <a:gd name="T7" fmla="*/ 140 h 406"/>
                  <a:gd name="T8" fmla="*/ 224 w 293"/>
                  <a:gd name="T9" fmla="*/ 173 h 406"/>
                  <a:gd name="T10" fmla="*/ 204 w 293"/>
                  <a:gd name="T11" fmla="*/ 181 h 406"/>
                  <a:gd name="T12" fmla="*/ 184 w 293"/>
                  <a:gd name="T13" fmla="*/ 181 h 406"/>
                  <a:gd name="T14" fmla="*/ 184 w 293"/>
                  <a:gd name="T15" fmla="*/ 152 h 406"/>
                  <a:gd name="T16" fmla="*/ 212 w 293"/>
                  <a:gd name="T17" fmla="*/ 132 h 406"/>
                  <a:gd name="T18" fmla="*/ 208 w 293"/>
                  <a:gd name="T19" fmla="*/ 76 h 406"/>
                  <a:gd name="T20" fmla="*/ 184 w 293"/>
                  <a:gd name="T21" fmla="*/ 20 h 406"/>
                  <a:gd name="T22" fmla="*/ 84 w 293"/>
                  <a:gd name="T23" fmla="*/ 0 h 406"/>
                  <a:gd name="T24" fmla="*/ 64 w 293"/>
                  <a:gd name="T25" fmla="*/ 20 h 406"/>
                  <a:gd name="T26" fmla="*/ 72 w 293"/>
                  <a:gd name="T27" fmla="*/ 40 h 406"/>
                  <a:gd name="T28" fmla="*/ 64 w 293"/>
                  <a:gd name="T29" fmla="*/ 68 h 406"/>
                  <a:gd name="T30" fmla="*/ 64 w 293"/>
                  <a:gd name="T31" fmla="*/ 92 h 406"/>
                  <a:gd name="T32" fmla="*/ 48 w 293"/>
                  <a:gd name="T33" fmla="*/ 88 h 406"/>
                  <a:gd name="T34" fmla="*/ 36 w 293"/>
                  <a:gd name="T35" fmla="*/ 56 h 406"/>
                  <a:gd name="T36" fmla="*/ 12 w 293"/>
                  <a:gd name="T37" fmla="*/ 112 h 406"/>
                  <a:gd name="T38" fmla="*/ 0 w 293"/>
                  <a:gd name="T39" fmla="*/ 249 h 406"/>
                  <a:gd name="T40" fmla="*/ 28 w 293"/>
                  <a:gd name="T41" fmla="*/ 289 h 406"/>
                  <a:gd name="T42" fmla="*/ 32 w 293"/>
                  <a:gd name="T43" fmla="*/ 333 h 406"/>
                  <a:gd name="T44" fmla="*/ 40 w 293"/>
                  <a:gd name="T45" fmla="*/ 369 h 406"/>
                  <a:gd name="T46" fmla="*/ 28 w 293"/>
                  <a:gd name="T47" fmla="*/ 405 h 406"/>
                  <a:gd name="T48" fmla="*/ 152 w 293"/>
                  <a:gd name="T49" fmla="*/ 393 h 406"/>
                  <a:gd name="T50" fmla="*/ 264 w 293"/>
                  <a:gd name="T51" fmla="*/ 369 h 406"/>
                  <a:gd name="T52" fmla="*/ 252 w 293"/>
                  <a:gd name="T53" fmla="*/ 349 h 406"/>
                  <a:gd name="T54" fmla="*/ 256 w 293"/>
                  <a:gd name="T55" fmla="*/ 321 h 406"/>
                  <a:gd name="T56" fmla="*/ 268 w 293"/>
                  <a:gd name="T57" fmla="*/ 309 h 406"/>
                  <a:gd name="T58" fmla="*/ 292 w 293"/>
                  <a:gd name="T59" fmla="*/ 249 h 40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293"/>
                  <a:gd name="T91" fmla="*/ 0 h 406"/>
                  <a:gd name="T92" fmla="*/ 293 w 293"/>
                  <a:gd name="T93" fmla="*/ 406 h 40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293" h="406">
                    <a:moveTo>
                      <a:pt x="292" y="249"/>
                    </a:moveTo>
                    <a:lnTo>
                      <a:pt x="292" y="221"/>
                    </a:lnTo>
                    <a:lnTo>
                      <a:pt x="252" y="132"/>
                    </a:lnTo>
                    <a:lnTo>
                      <a:pt x="232" y="140"/>
                    </a:lnTo>
                    <a:lnTo>
                      <a:pt x="224" y="173"/>
                    </a:lnTo>
                    <a:lnTo>
                      <a:pt x="204" y="181"/>
                    </a:lnTo>
                    <a:lnTo>
                      <a:pt x="184" y="181"/>
                    </a:lnTo>
                    <a:lnTo>
                      <a:pt x="184" y="152"/>
                    </a:lnTo>
                    <a:lnTo>
                      <a:pt x="212" y="132"/>
                    </a:lnTo>
                    <a:lnTo>
                      <a:pt x="208" y="76"/>
                    </a:lnTo>
                    <a:lnTo>
                      <a:pt x="184" y="20"/>
                    </a:lnTo>
                    <a:lnTo>
                      <a:pt x="84" y="0"/>
                    </a:lnTo>
                    <a:lnTo>
                      <a:pt x="64" y="20"/>
                    </a:lnTo>
                    <a:lnTo>
                      <a:pt x="72" y="40"/>
                    </a:lnTo>
                    <a:lnTo>
                      <a:pt x="64" y="68"/>
                    </a:lnTo>
                    <a:lnTo>
                      <a:pt x="64" y="92"/>
                    </a:lnTo>
                    <a:lnTo>
                      <a:pt x="48" y="88"/>
                    </a:lnTo>
                    <a:lnTo>
                      <a:pt x="36" y="56"/>
                    </a:lnTo>
                    <a:lnTo>
                      <a:pt x="12" y="112"/>
                    </a:lnTo>
                    <a:lnTo>
                      <a:pt x="0" y="249"/>
                    </a:lnTo>
                    <a:lnTo>
                      <a:pt x="28" y="289"/>
                    </a:lnTo>
                    <a:lnTo>
                      <a:pt x="32" y="333"/>
                    </a:lnTo>
                    <a:lnTo>
                      <a:pt x="40" y="369"/>
                    </a:lnTo>
                    <a:lnTo>
                      <a:pt x="28" y="405"/>
                    </a:lnTo>
                    <a:lnTo>
                      <a:pt x="152" y="393"/>
                    </a:lnTo>
                    <a:lnTo>
                      <a:pt x="264" y="369"/>
                    </a:lnTo>
                    <a:lnTo>
                      <a:pt x="252" y="349"/>
                    </a:lnTo>
                    <a:lnTo>
                      <a:pt x="256" y="321"/>
                    </a:lnTo>
                    <a:lnTo>
                      <a:pt x="268" y="309"/>
                    </a:lnTo>
                    <a:lnTo>
                      <a:pt x="292" y="249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none" lIns="0" tIns="0" rIns="0" bIns="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7" name="Freeform 212"/>
              <p:cNvSpPr>
                <a:spLocks/>
              </p:cNvSpPr>
              <p:nvPr/>
            </p:nvSpPr>
            <p:spPr bwMode="gray">
              <a:xfrm>
                <a:off x="5646138" y="2143125"/>
                <a:ext cx="819484" cy="384175"/>
              </a:xfrm>
              <a:custGeom>
                <a:avLst/>
                <a:gdLst>
                  <a:gd name="T0" fmla="*/ 209 w 471"/>
                  <a:gd name="T1" fmla="*/ 242 h 242"/>
                  <a:gd name="T2" fmla="*/ 242 w 471"/>
                  <a:gd name="T3" fmla="*/ 166 h 242"/>
                  <a:gd name="T4" fmla="*/ 260 w 471"/>
                  <a:gd name="T5" fmla="*/ 165 h 242"/>
                  <a:gd name="T6" fmla="*/ 267 w 471"/>
                  <a:gd name="T7" fmla="*/ 153 h 242"/>
                  <a:gd name="T8" fmla="*/ 278 w 471"/>
                  <a:gd name="T9" fmla="*/ 163 h 242"/>
                  <a:gd name="T10" fmla="*/ 288 w 471"/>
                  <a:gd name="T11" fmla="*/ 148 h 242"/>
                  <a:gd name="T12" fmla="*/ 308 w 471"/>
                  <a:gd name="T13" fmla="*/ 130 h 242"/>
                  <a:gd name="T14" fmla="*/ 333 w 471"/>
                  <a:gd name="T15" fmla="*/ 129 h 242"/>
                  <a:gd name="T16" fmla="*/ 350 w 471"/>
                  <a:gd name="T17" fmla="*/ 114 h 242"/>
                  <a:gd name="T18" fmla="*/ 386 w 471"/>
                  <a:gd name="T19" fmla="*/ 135 h 242"/>
                  <a:gd name="T20" fmla="*/ 392 w 471"/>
                  <a:gd name="T21" fmla="*/ 109 h 242"/>
                  <a:gd name="T22" fmla="*/ 420 w 471"/>
                  <a:gd name="T23" fmla="*/ 115 h 242"/>
                  <a:gd name="T24" fmla="*/ 447 w 471"/>
                  <a:gd name="T25" fmla="*/ 111 h 242"/>
                  <a:gd name="T26" fmla="*/ 471 w 471"/>
                  <a:gd name="T27" fmla="*/ 111 h 242"/>
                  <a:gd name="T28" fmla="*/ 464 w 471"/>
                  <a:gd name="T29" fmla="*/ 99 h 242"/>
                  <a:gd name="T30" fmla="*/ 447 w 471"/>
                  <a:gd name="T31" fmla="*/ 96 h 242"/>
                  <a:gd name="T32" fmla="*/ 431 w 471"/>
                  <a:gd name="T33" fmla="*/ 57 h 242"/>
                  <a:gd name="T34" fmla="*/ 420 w 471"/>
                  <a:gd name="T35" fmla="*/ 55 h 242"/>
                  <a:gd name="T36" fmla="*/ 384 w 471"/>
                  <a:gd name="T37" fmla="*/ 67 h 242"/>
                  <a:gd name="T38" fmla="*/ 366 w 471"/>
                  <a:gd name="T39" fmla="*/ 66 h 242"/>
                  <a:gd name="T40" fmla="*/ 359 w 471"/>
                  <a:gd name="T41" fmla="*/ 39 h 242"/>
                  <a:gd name="T42" fmla="*/ 336 w 471"/>
                  <a:gd name="T43" fmla="*/ 57 h 242"/>
                  <a:gd name="T44" fmla="*/ 282 w 471"/>
                  <a:gd name="T45" fmla="*/ 61 h 242"/>
                  <a:gd name="T46" fmla="*/ 252 w 471"/>
                  <a:gd name="T47" fmla="*/ 88 h 242"/>
                  <a:gd name="T48" fmla="*/ 207 w 471"/>
                  <a:gd name="T49" fmla="*/ 88 h 242"/>
                  <a:gd name="T50" fmla="*/ 174 w 471"/>
                  <a:gd name="T51" fmla="*/ 58 h 242"/>
                  <a:gd name="T52" fmla="*/ 135 w 471"/>
                  <a:gd name="T53" fmla="*/ 57 h 242"/>
                  <a:gd name="T54" fmla="*/ 147 w 471"/>
                  <a:gd name="T55" fmla="*/ 28 h 242"/>
                  <a:gd name="T56" fmla="*/ 180 w 471"/>
                  <a:gd name="T57" fmla="*/ 3 h 242"/>
                  <a:gd name="T58" fmla="*/ 155 w 471"/>
                  <a:gd name="T59" fmla="*/ 0 h 242"/>
                  <a:gd name="T60" fmla="*/ 126 w 471"/>
                  <a:gd name="T61" fmla="*/ 22 h 242"/>
                  <a:gd name="T62" fmla="*/ 102 w 471"/>
                  <a:gd name="T63" fmla="*/ 39 h 242"/>
                  <a:gd name="T64" fmla="*/ 95 w 471"/>
                  <a:gd name="T65" fmla="*/ 60 h 242"/>
                  <a:gd name="T66" fmla="*/ 51 w 471"/>
                  <a:gd name="T67" fmla="*/ 85 h 242"/>
                  <a:gd name="T68" fmla="*/ 39 w 471"/>
                  <a:gd name="T69" fmla="*/ 84 h 242"/>
                  <a:gd name="T70" fmla="*/ 0 w 471"/>
                  <a:gd name="T71" fmla="*/ 120 h 242"/>
                  <a:gd name="T72" fmla="*/ 12 w 471"/>
                  <a:gd name="T73" fmla="*/ 123 h 242"/>
                  <a:gd name="T74" fmla="*/ 36 w 471"/>
                  <a:gd name="T75" fmla="*/ 143 h 242"/>
                  <a:gd name="T76" fmla="*/ 90 w 471"/>
                  <a:gd name="T77" fmla="*/ 143 h 242"/>
                  <a:gd name="T78" fmla="*/ 129 w 471"/>
                  <a:gd name="T79" fmla="*/ 168 h 242"/>
                  <a:gd name="T80" fmla="*/ 171 w 471"/>
                  <a:gd name="T81" fmla="*/ 170 h 242"/>
                  <a:gd name="T82" fmla="*/ 180 w 471"/>
                  <a:gd name="T83" fmla="*/ 183 h 242"/>
                  <a:gd name="T84" fmla="*/ 197 w 471"/>
                  <a:gd name="T85" fmla="*/ 185 h 242"/>
                  <a:gd name="T86" fmla="*/ 209 w 471"/>
                  <a:gd name="T87" fmla="*/ 242 h 242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471"/>
                  <a:gd name="T133" fmla="*/ 0 h 242"/>
                  <a:gd name="T134" fmla="*/ 471 w 471"/>
                  <a:gd name="T135" fmla="*/ 242 h 242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471" h="242">
                    <a:moveTo>
                      <a:pt x="209" y="242"/>
                    </a:moveTo>
                    <a:lnTo>
                      <a:pt x="242" y="166"/>
                    </a:lnTo>
                    <a:lnTo>
                      <a:pt x="260" y="165"/>
                    </a:lnTo>
                    <a:lnTo>
                      <a:pt x="267" y="153"/>
                    </a:lnTo>
                    <a:lnTo>
                      <a:pt x="278" y="163"/>
                    </a:lnTo>
                    <a:lnTo>
                      <a:pt x="288" y="148"/>
                    </a:lnTo>
                    <a:lnTo>
                      <a:pt x="308" y="130"/>
                    </a:lnTo>
                    <a:lnTo>
                      <a:pt x="333" y="129"/>
                    </a:lnTo>
                    <a:lnTo>
                      <a:pt x="350" y="114"/>
                    </a:lnTo>
                    <a:lnTo>
                      <a:pt x="386" y="135"/>
                    </a:lnTo>
                    <a:lnTo>
                      <a:pt x="392" y="109"/>
                    </a:lnTo>
                    <a:lnTo>
                      <a:pt x="420" y="115"/>
                    </a:lnTo>
                    <a:lnTo>
                      <a:pt x="447" y="111"/>
                    </a:lnTo>
                    <a:lnTo>
                      <a:pt x="471" y="111"/>
                    </a:lnTo>
                    <a:lnTo>
                      <a:pt x="464" y="99"/>
                    </a:lnTo>
                    <a:lnTo>
                      <a:pt x="447" y="96"/>
                    </a:lnTo>
                    <a:lnTo>
                      <a:pt x="431" y="57"/>
                    </a:lnTo>
                    <a:lnTo>
                      <a:pt x="420" y="55"/>
                    </a:lnTo>
                    <a:lnTo>
                      <a:pt x="384" y="67"/>
                    </a:lnTo>
                    <a:lnTo>
                      <a:pt x="366" y="66"/>
                    </a:lnTo>
                    <a:lnTo>
                      <a:pt x="359" y="39"/>
                    </a:lnTo>
                    <a:lnTo>
                      <a:pt x="336" y="57"/>
                    </a:lnTo>
                    <a:lnTo>
                      <a:pt x="282" y="61"/>
                    </a:lnTo>
                    <a:lnTo>
                      <a:pt x="252" y="88"/>
                    </a:lnTo>
                    <a:lnTo>
                      <a:pt x="207" y="88"/>
                    </a:lnTo>
                    <a:lnTo>
                      <a:pt x="174" y="58"/>
                    </a:lnTo>
                    <a:lnTo>
                      <a:pt x="135" y="57"/>
                    </a:lnTo>
                    <a:lnTo>
                      <a:pt x="147" y="28"/>
                    </a:lnTo>
                    <a:lnTo>
                      <a:pt x="180" y="3"/>
                    </a:lnTo>
                    <a:lnTo>
                      <a:pt x="155" y="0"/>
                    </a:lnTo>
                    <a:lnTo>
                      <a:pt x="126" y="22"/>
                    </a:lnTo>
                    <a:lnTo>
                      <a:pt x="102" y="39"/>
                    </a:lnTo>
                    <a:lnTo>
                      <a:pt x="95" y="60"/>
                    </a:lnTo>
                    <a:lnTo>
                      <a:pt x="51" y="85"/>
                    </a:lnTo>
                    <a:lnTo>
                      <a:pt x="39" y="84"/>
                    </a:lnTo>
                    <a:lnTo>
                      <a:pt x="0" y="120"/>
                    </a:lnTo>
                    <a:lnTo>
                      <a:pt x="12" y="123"/>
                    </a:lnTo>
                    <a:lnTo>
                      <a:pt x="36" y="143"/>
                    </a:lnTo>
                    <a:lnTo>
                      <a:pt x="90" y="143"/>
                    </a:lnTo>
                    <a:lnTo>
                      <a:pt x="129" y="168"/>
                    </a:lnTo>
                    <a:lnTo>
                      <a:pt x="171" y="170"/>
                    </a:lnTo>
                    <a:lnTo>
                      <a:pt x="180" y="183"/>
                    </a:lnTo>
                    <a:lnTo>
                      <a:pt x="197" y="185"/>
                    </a:lnTo>
                    <a:lnTo>
                      <a:pt x="209" y="242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chemeClr val="bg1"/>
                </a:solidFill>
                <a:prstDash val="solid"/>
                <a:round/>
                <a:headEnd type="none" w="lg" len="lg"/>
                <a:tailEnd type="none" w="lg" len="lg"/>
              </a:ln>
            </p:spPr>
            <p:txBody>
              <a:bodyPr wrap="none" tIns="91440" anchor="t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grpSp>
        <p:nvGrpSpPr>
          <p:cNvPr id="120" name="label_usmap_state_abbreviations"/>
          <p:cNvGrpSpPr>
            <a:grpSpLocks/>
          </p:cNvGrpSpPr>
          <p:nvPr/>
        </p:nvGrpSpPr>
        <p:grpSpPr bwMode="gray">
          <a:xfrm>
            <a:off x="2054402" y="1619253"/>
            <a:ext cx="6938621" cy="4348163"/>
            <a:chOff x="1031" y="1134"/>
            <a:chExt cx="4370" cy="2739"/>
          </a:xfrm>
        </p:grpSpPr>
        <p:sp>
          <p:nvSpPr>
            <p:cNvPr id="121" name="Rectangle 81"/>
            <p:cNvSpPr>
              <a:spLocks noChangeArrowheads="1"/>
            </p:cNvSpPr>
            <p:nvPr/>
          </p:nvSpPr>
          <p:spPr bwMode="gray">
            <a:xfrm>
              <a:off x="1196" y="1534"/>
              <a:ext cx="162" cy="11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 dirty="0" smtClean="0">
                  <a:latin typeface="Arial" pitchFamily="34" charset="0"/>
                  <a:cs typeface="Arial" pitchFamily="34" charset="0"/>
                </a:rPr>
                <a:t>OR</a:t>
              </a: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2" name="Rectangle 83"/>
            <p:cNvSpPr>
              <a:spLocks noChangeArrowheads="1"/>
            </p:cNvSpPr>
            <p:nvPr/>
          </p:nvSpPr>
          <p:spPr bwMode="gray">
            <a:xfrm>
              <a:off x="2114" y="1373"/>
              <a:ext cx="160" cy="11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 dirty="0" smtClean="0">
                  <a:latin typeface="Arial" pitchFamily="34" charset="0"/>
                  <a:cs typeface="Arial" pitchFamily="34" charset="0"/>
                </a:rPr>
                <a:t>MT</a:t>
              </a: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3" name="Rectangle 85"/>
            <p:cNvSpPr>
              <a:spLocks noChangeArrowheads="1"/>
            </p:cNvSpPr>
            <p:nvPr/>
          </p:nvSpPr>
          <p:spPr bwMode="gray">
            <a:xfrm>
              <a:off x="1669" y="1672"/>
              <a:ext cx="132" cy="108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 dirty="0" smtClean="0">
                  <a:latin typeface="Arial" pitchFamily="34" charset="0"/>
                  <a:cs typeface="Arial" pitchFamily="34" charset="0"/>
                </a:rPr>
                <a:t>ID</a:t>
              </a: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4" name="Rectangle 86"/>
            <p:cNvSpPr>
              <a:spLocks noChangeArrowheads="1"/>
            </p:cNvSpPr>
            <p:nvPr/>
          </p:nvSpPr>
          <p:spPr bwMode="gray">
            <a:xfrm>
              <a:off x="2184" y="1791"/>
              <a:ext cx="170" cy="11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 dirty="0" smtClean="0">
                  <a:latin typeface="Arial" pitchFamily="34" charset="0"/>
                  <a:cs typeface="Arial" pitchFamily="34" charset="0"/>
                </a:rPr>
                <a:t>WY</a:t>
              </a: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5" name="Rectangle 87"/>
            <p:cNvSpPr>
              <a:spLocks noChangeArrowheads="1"/>
            </p:cNvSpPr>
            <p:nvPr/>
          </p:nvSpPr>
          <p:spPr bwMode="gray">
            <a:xfrm>
              <a:off x="1106" y="2279"/>
              <a:ext cx="156" cy="11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 dirty="0" smtClean="0">
                  <a:latin typeface="Arial" pitchFamily="34" charset="0"/>
                  <a:cs typeface="Arial" pitchFamily="34" charset="0"/>
                </a:rPr>
                <a:t>CA</a:t>
              </a: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6" name="Rectangle 88"/>
            <p:cNvSpPr>
              <a:spLocks noChangeArrowheads="1"/>
            </p:cNvSpPr>
            <p:nvPr/>
          </p:nvSpPr>
          <p:spPr bwMode="gray">
            <a:xfrm>
              <a:off x="1407" y="2042"/>
              <a:ext cx="156" cy="11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 dirty="0" smtClean="0">
                  <a:latin typeface="Arial" pitchFamily="34" charset="0"/>
                  <a:cs typeface="Arial" pitchFamily="34" charset="0"/>
                </a:rPr>
                <a:t>NV</a:t>
              </a: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7" name="Rectangle 89"/>
            <p:cNvSpPr>
              <a:spLocks noChangeArrowheads="1"/>
            </p:cNvSpPr>
            <p:nvPr/>
          </p:nvSpPr>
          <p:spPr bwMode="gray">
            <a:xfrm>
              <a:off x="1828" y="2138"/>
              <a:ext cx="152" cy="11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 dirty="0" smtClean="0">
                  <a:latin typeface="Arial" pitchFamily="34" charset="0"/>
                  <a:cs typeface="Arial" pitchFamily="34" charset="0"/>
                </a:rPr>
                <a:t>UT</a:t>
              </a: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8" name="Rectangle 90"/>
            <p:cNvSpPr>
              <a:spLocks noChangeArrowheads="1"/>
            </p:cNvSpPr>
            <p:nvPr/>
          </p:nvSpPr>
          <p:spPr bwMode="gray">
            <a:xfrm>
              <a:off x="2325" y="2204"/>
              <a:ext cx="162" cy="11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 dirty="0" smtClean="0">
                  <a:latin typeface="Arial" pitchFamily="34" charset="0"/>
                  <a:cs typeface="Arial" pitchFamily="34" charset="0"/>
                </a:rPr>
                <a:t>CO</a:t>
              </a: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9" name="Rectangle 91"/>
            <p:cNvSpPr>
              <a:spLocks noChangeArrowheads="1"/>
            </p:cNvSpPr>
            <p:nvPr/>
          </p:nvSpPr>
          <p:spPr bwMode="gray">
            <a:xfrm>
              <a:off x="1759" y="2648"/>
              <a:ext cx="150" cy="11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 dirty="0" smtClean="0">
                  <a:latin typeface="Arial" pitchFamily="34" charset="0"/>
                  <a:cs typeface="Arial" pitchFamily="34" charset="0"/>
                </a:rPr>
                <a:t>AZ</a:t>
              </a: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0" name="Rectangle 92"/>
            <p:cNvSpPr>
              <a:spLocks noChangeArrowheads="1"/>
            </p:cNvSpPr>
            <p:nvPr/>
          </p:nvSpPr>
          <p:spPr bwMode="gray">
            <a:xfrm>
              <a:off x="2232" y="2664"/>
              <a:ext cx="166" cy="11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 dirty="0" smtClean="0">
                  <a:latin typeface="Arial" pitchFamily="34" charset="0"/>
                  <a:cs typeface="Arial" pitchFamily="34" charset="0"/>
                </a:rPr>
                <a:t>NM</a:t>
              </a: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1" name="Rectangle 93"/>
            <p:cNvSpPr>
              <a:spLocks noChangeArrowheads="1"/>
            </p:cNvSpPr>
            <p:nvPr/>
          </p:nvSpPr>
          <p:spPr bwMode="gray">
            <a:xfrm>
              <a:off x="2913" y="2982"/>
              <a:ext cx="150" cy="11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 dirty="0" smtClean="0">
                  <a:latin typeface="Arial" pitchFamily="34" charset="0"/>
                  <a:cs typeface="Arial" pitchFamily="34" charset="0"/>
                </a:rPr>
                <a:t>TX</a:t>
              </a: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2" name="Rectangle 94"/>
            <p:cNvSpPr>
              <a:spLocks noChangeArrowheads="1"/>
            </p:cNvSpPr>
            <p:nvPr/>
          </p:nvSpPr>
          <p:spPr bwMode="gray">
            <a:xfrm>
              <a:off x="3014" y="2561"/>
              <a:ext cx="160" cy="11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 dirty="0" smtClean="0">
                  <a:latin typeface="Arial" pitchFamily="34" charset="0"/>
                  <a:cs typeface="Arial" pitchFamily="34" charset="0"/>
                </a:rPr>
                <a:t>OK</a:t>
              </a: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3" name="Rectangle 95"/>
            <p:cNvSpPr>
              <a:spLocks noChangeArrowheads="1"/>
            </p:cNvSpPr>
            <p:nvPr/>
          </p:nvSpPr>
          <p:spPr bwMode="gray">
            <a:xfrm>
              <a:off x="2917" y="2265"/>
              <a:ext cx="152" cy="11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 dirty="0" smtClean="0">
                  <a:latin typeface="Arial" pitchFamily="34" charset="0"/>
                  <a:cs typeface="Arial" pitchFamily="34" charset="0"/>
                </a:rPr>
                <a:t>KS</a:t>
              </a: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4" name="Rectangle 96"/>
            <p:cNvSpPr>
              <a:spLocks noChangeArrowheads="1"/>
            </p:cNvSpPr>
            <p:nvPr/>
          </p:nvSpPr>
          <p:spPr bwMode="gray">
            <a:xfrm>
              <a:off x="2814" y="1965"/>
              <a:ext cx="156" cy="11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 dirty="0" smtClean="0">
                  <a:latin typeface="Arial" pitchFamily="34" charset="0"/>
                  <a:cs typeface="Arial" pitchFamily="34" charset="0"/>
                </a:rPr>
                <a:t>NE</a:t>
              </a: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5" name="Rectangle 97"/>
            <p:cNvSpPr>
              <a:spLocks noChangeArrowheads="1"/>
            </p:cNvSpPr>
            <p:nvPr/>
          </p:nvSpPr>
          <p:spPr bwMode="gray">
            <a:xfrm>
              <a:off x="2769" y="1665"/>
              <a:ext cx="156" cy="11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 dirty="0" smtClean="0">
                  <a:latin typeface="Arial" pitchFamily="34" charset="0"/>
                  <a:cs typeface="Arial" pitchFamily="34" charset="0"/>
                </a:rPr>
                <a:t>SD</a:t>
              </a: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6" name="Rectangle 98"/>
            <p:cNvSpPr>
              <a:spLocks noChangeArrowheads="1"/>
            </p:cNvSpPr>
            <p:nvPr/>
          </p:nvSpPr>
          <p:spPr bwMode="gray">
            <a:xfrm>
              <a:off x="1350" y="1213"/>
              <a:ext cx="164" cy="104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 dirty="0" smtClean="0">
                  <a:latin typeface="Arial" pitchFamily="34" charset="0"/>
                  <a:cs typeface="Arial" pitchFamily="34" charset="0"/>
                </a:rPr>
                <a:t>WA</a:t>
              </a: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7" name="Rectangle 99"/>
            <p:cNvSpPr>
              <a:spLocks noChangeArrowheads="1"/>
            </p:cNvSpPr>
            <p:nvPr/>
          </p:nvSpPr>
          <p:spPr bwMode="gray">
            <a:xfrm>
              <a:off x="2728" y="1354"/>
              <a:ext cx="158" cy="11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 dirty="0" smtClean="0">
                  <a:latin typeface="Arial" pitchFamily="34" charset="0"/>
                  <a:cs typeface="Arial" pitchFamily="34" charset="0"/>
                </a:rPr>
                <a:t>ND</a:t>
              </a: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8" name="Rectangle 100"/>
            <p:cNvSpPr>
              <a:spLocks noChangeArrowheads="1"/>
            </p:cNvSpPr>
            <p:nvPr/>
          </p:nvSpPr>
          <p:spPr bwMode="gray">
            <a:xfrm>
              <a:off x="3167" y="1444"/>
              <a:ext cx="166" cy="11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 dirty="0" smtClean="0">
                  <a:latin typeface="Arial" pitchFamily="34" charset="0"/>
                  <a:cs typeface="Arial" pitchFamily="34" charset="0"/>
                </a:rPr>
                <a:t>MN</a:t>
              </a: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9" name="Rectangle 101"/>
            <p:cNvSpPr>
              <a:spLocks noChangeArrowheads="1"/>
            </p:cNvSpPr>
            <p:nvPr/>
          </p:nvSpPr>
          <p:spPr bwMode="gray">
            <a:xfrm>
              <a:off x="3290" y="1877"/>
              <a:ext cx="130" cy="11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 dirty="0" smtClean="0">
                  <a:latin typeface="Arial" pitchFamily="34" charset="0"/>
                  <a:cs typeface="Arial" pitchFamily="34" charset="0"/>
                </a:rPr>
                <a:t>IA</a:t>
              </a: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0" name="Rectangle 102"/>
            <p:cNvSpPr>
              <a:spLocks noChangeArrowheads="1"/>
            </p:cNvSpPr>
            <p:nvPr/>
          </p:nvSpPr>
          <p:spPr bwMode="gray">
            <a:xfrm>
              <a:off x="3382" y="2243"/>
              <a:ext cx="170" cy="11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 dirty="0" smtClean="0">
                  <a:latin typeface="Arial" pitchFamily="34" charset="0"/>
                  <a:cs typeface="Arial" pitchFamily="34" charset="0"/>
                </a:rPr>
                <a:t>MO</a:t>
              </a: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1" name="Rectangle 103"/>
            <p:cNvSpPr>
              <a:spLocks noChangeArrowheads="1"/>
            </p:cNvSpPr>
            <p:nvPr/>
          </p:nvSpPr>
          <p:spPr bwMode="gray">
            <a:xfrm>
              <a:off x="3426" y="2603"/>
              <a:ext cx="156" cy="11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 dirty="0" smtClean="0">
                  <a:latin typeface="Arial" pitchFamily="34" charset="0"/>
                  <a:cs typeface="Arial" pitchFamily="34" charset="0"/>
                </a:rPr>
                <a:t>AR</a:t>
              </a: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2" name="Rectangle 104"/>
            <p:cNvSpPr>
              <a:spLocks noChangeArrowheads="1"/>
            </p:cNvSpPr>
            <p:nvPr/>
          </p:nvSpPr>
          <p:spPr bwMode="gray">
            <a:xfrm>
              <a:off x="3535" y="1598"/>
              <a:ext cx="146" cy="11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 dirty="0" smtClean="0">
                  <a:latin typeface="Arial" pitchFamily="34" charset="0"/>
                  <a:cs typeface="Arial" pitchFamily="34" charset="0"/>
                </a:rPr>
                <a:t>WI</a:t>
              </a: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3" name="Rectangle 105"/>
            <p:cNvSpPr>
              <a:spLocks noChangeArrowheads="1"/>
            </p:cNvSpPr>
            <p:nvPr/>
          </p:nvSpPr>
          <p:spPr bwMode="gray">
            <a:xfrm>
              <a:off x="3662" y="2041"/>
              <a:ext cx="124" cy="11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 dirty="0" smtClean="0">
                  <a:latin typeface="Arial" pitchFamily="34" charset="0"/>
                  <a:cs typeface="Arial" pitchFamily="34" charset="0"/>
                </a:rPr>
                <a:t>IL</a:t>
              </a: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4" name="Rectangle 107"/>
            <p:cNvSpPr>
              <a:spLocks noChangeArrowheads="1"/>
            </p:cNvSpPr>
            <p:nvPr/>
          </p:nvSpPr>
          <p:spPr bwMode="gray">
            <a:xfrm>
              <a:off x="3961" y="1715"/>
              <a:ext cx="140" cy="11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 dirty="0" smtClean="0">
                  <a:latin typeface="Arial" pitchFamily="34" charset="0"/>
                  <a:cs typeface="Arial" pitchFamily="34" charset="0"/>
                </a:rPr>
                <a:t>MI</a:t>
              </a: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5" name="Rectangle 108"/>
            <p:cNvSpPr>
              <a:spLocks noChangeArrowheads="1"/>
            </p:cNvSpPr>
            <p:nvPr/>
          </p:nvSpPr>
          <p:spPr bwMode="gray">
            <a:xfrm>
              <a:off x="3903" y="2022"/>
              <a:ext cx="132" cy="108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 dirty="0" smtClean="0">
                  <a:latin typeface="Arial" pitchFamily="34" charset="0"/>
                  <a:cs typeface="Arial" pitchFamily="34" charset="0"/>
                </a:rPr>
                <a:t>IN</a:t>
              </a: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6" name="Rectangle 109"/>
            <p:cNvSpPr>
              <a:spLocks noChangeArrowheads="1"/>
            </p:cNvSpPr>
            <p:nvPr/>
          </p:nvSpPr>
          <p:spPr bwMode="gray">
            <a:xfrm>
              <a:off x="4149" y="1945"/>
              <a:ext cx="162" cy="11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 dirty="0" smtClean="0">
                  <a:latin typeface="Arial" pitchFamily="34" charset="0"/>
                  <a:cs typeface="Arial" pitchFamily="34" charset="0"/>
                </a:rPr>
                <a:t>OH</a:t>
              </a: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7" name="Rectangle 110"/>
            <p:cNvSpPr>
              <a:spLocks noChangeArrowheads="1"/>
            </p:cNvSpPr>
            <p:nvPr/>
          </p:nvSpPr>
          <p:spPr bwMode="gray">
            <a:xfrm>
              <a:off x="4540" y="1797"/>
              <a:ext cx="152" cy="11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 dirty="0" smtClean="0">
                  <a:latin typeface="Arial" pitchFamily="34" charset="0"/>
                  <a:cs typeface="Arial" pitchFamily="34" charset="0"/>
                </a:rPr>
                <a:t>PA</a:t>
              </a: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8" name="Rectangle 111"/>
            <p:cNvSpPr>
              <a:spLocks noChangeArrowheads="1"/>
            </p:cNvSpPr>
            <p:nvPr/>
          </p:nvSpPr>
          <p:spPr bwMode="gray">
            <a:xfrm>
              <a:off x="4677" y="1517"/>
              <a:ext cx="156" cy="11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 dirty="0" smtClean="0">
                  <a:latin typeface="Arial" pitchFamily="34" charset="0"/>
                  <a:cs typeface="Arial" pitchFamily="34" charset="0"/>
                </a:rPr>
                <a:t>NY</a:t>
              </a: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9" name="Rectangle 112"/>
            <p:cNvSpPr>
              <a:spLocks noChangeArrowheads="1"/>
            </p:cNvSpPr>
            <p:nvPr/>
          </p:nvSpPr>
          <p:spPr bwMode="gray">
            <a:xfrm>
              <a:off x="4090" y="2238"/>
              <a:ext cx="152" cy="11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 dirty="0" smtClean="0">
                  <a:latin typeface="Arial" pitchFamily="34" charset="0"/>
                  <a:cs typeface="Arial" pitchFamily="34" charset="0"/>
                </a:rPr>
                <a:t>KY</a:t>
              </a: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0" name="Rectangle 114"/>
            <p:cNvSpPr>
              <a:spLocks noChangeArrowheads="1"/>
            </p:cNvSpPr>
            <p:nvPr/>
          </p:nvSpPr>
          <p:spPr bwMode="gray">
            <a:xfrm>
              <a:off x="4345" y="2106"/>
              <a:ext cx="170" cy="11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 dirty="0" smtClean="0">
                  <a:latin typeface="Arial" pitchFamily="34" charset="0"/>
                  <a:cs typeface="Arial" pitchFamily="34" charset="0"/>
                </a:rPr>
                <a:t>WV</a:t>
              </a: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1" name="Rectangle 117"/>
            <p:cNvSpPr>
              <a:spLocks noChangeArrowheads="1"/>
            </p:cNvSpPr>
            <p:nvPr/>
          </p:nvSpPr>
          <p:spPr bwMode="gray">
            <a:xfrm>
              <a:off x="3940" y="2448"/>
              <a:ext cx="152" cy="11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 dirty="0" smtClean="0">
                  <a:latin typeface="Arial" pitchFamily="34" charset="0"/>
                  <a:cs typeface="Arial" pitchFamily="34" charset="0"/>
                </a:rPr>
                <a:t>TN</a:t>
              </a: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2" name="Rectangle 118"/>
            <p:cNvSpPr>
              <a:spLocks noChangeArrowheads="1"/>
            </p:cNvSpPr>
            <p:nvPr/>
          </p:nvSpPr>
          <p:spPr bwMode="gray">
            <a:xfrm>
              <a:off x="4584" y="2133"/>
              <a:ext cx="152" cy="11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 dirty="0" smtClean="0">
                  <a:latin typeface="Arial" pitchFamily="34" charset="0"/>
                  <a:cs typeface="Arial" pitchFamily="34" charset="0"/>
                </a:rPr>
                <a:t>VA</a:t>
              </a: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3" name="Rectangle 119"/>
            <p:cNvSpPr>
              <a:spLocks noChangeArrowheads="1"/>
            </p:cNvSpPr>
            <p:nvPr/>
          </p:nvSpPr>
          <p:spPr bwMode="gray">
            <a:xfrm>
              <a:off x="4563" y="2355"/>
              <a:ext cx="158" cy="11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 dirty="0" smtClean="0">
                  <a:latin typeface="Arial" pitchFamily="34" charset="0"/>
                  <a:cs typeface="Arial" pitchFamily="34" charset="0"/>
                </a:rPr>
                <a:t>NC</a:t>
              </a: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4" name="Rectangle 120"/>
            <p:cNvSpPr>
              <a:spLocks noChangeArrowheads="1"/>
            </p:cNvSpPr>
            <p:nvPr/>
          </p:nvSpPr>
          <p:spPr bwMode="gray">
            <a:xfrm>
              <a:off x="4464" y="2553"/>
              <a:ext cx="156" cy="11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 dirty="0" smtClean="0">
                  <a:latin typeface="Arial" pitchFamily="34" charset="0"/>
                  <a:cs typeface="Arial" pitchFamily="34" charset="0"/>
                </a:rPr>
                <a:t>SC</a:t>
              </a: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5" name="Rectangle 121"/>
            <p:cNvSpPr>
              <a:spLocks noChangeArrowheads="1"/>
            </p:cNvSpPr>
            <p:nvPr/>
          </p:nvSpPr>
          <p:spPr bwMode="gray">
            <a:xfrm>
              <a:off x="3699" y="2783"/>
              <a:ext cx="162" cy="11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 dirty="0" smtClean="0">
                  <a:latin typeface="Arial" pitchFamily="34" charset="0"/>
                  <a:cs typeface="Arial" pitchFamily="34" charset="0"/>
                </a:rPr>
                <a:t>MS</a:t>
              </a: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6" name="Rectangle 122"/>
            <p:cNvSpPr>
              <a:spLocks noChangeArrowheads="1"/>
            </p:cNvSpPr>
            <p:nvPr/>
          </p:nvSpPr>
          <p:spPr bwMode="gray">
            <a:xfrm>
              <a:off x="3958" y="2731"/>
              <a:ext cx="146" cy="11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 dirty="0" smtClean="0">
                  <a:latin typeface="Arial" pitchFamily="34" charset="0"/>
                  <a:cs typeface="Arial" pitchFamily="34" charset="0"/>
                </a:rPr>
                <a:t>AL</a:t>
              </a: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7" name="Rectangle 123"/>
            <p:cNvSpPr>
              <a:spLocks noChangeArrowheads="1"/>
            </p:cNvSpPr>
            <p:nvPr/>
          </p:nvSpPr>
          <p:spPr bwMode="gray">
            <a:xfrm>
              <a:off x="4256" y="2713"/>
              <a:ext cx="160" cy="11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 dirty="0" smtClean="0">
                  <a:latin typeface="Arial" pitchFamily="34" charset="0"/>
                  <a:cs typeface="Arial" pitchFamily="34" charset="0"/>
                </a:rPr>
                <a:t>GA</a:t>
              </a: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0" name="Rectangle 124"/>
            <p:cNvSpPr>
              <a:spLocks noChangeArrowheads="1"/>
            </p:cNvSpPr>
            <p:nvPr/>
          </p:nvSpPr>
          <p:spPr bwMode="gray">
            <a:xfrm>
              <a:off x="4520" y="3177"/>
              <a:ext cx="142" cy="11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 dirty="0" smtClean="0">
                  <a:latin typeface="Arial" pitchFamily="34" charset="0"/>
                  <a:cs typeface="Arial" pitchFamily="34" charset="0"/>
                </a:rPr>
                <a:t>FL</a:t>
              </a: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3" name="Rectangle 125"/>
            <p:cNvSpPr>
              <a:spLocks noChangeArrowheads="1"/>
            </p:cNvSpPr>
            <p:nvPr/>
          </p:nvSpPr>
          <p:spPr bwMode="gray">
            <a:xfrm>
              <a:off x="5043" y="1134"/>
              <a:ext cx="162" cy="11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 dirty="0" smtClean="0">
                  <a:latin typeface="Arial" pitchFamily="34" charset="0"/>
                  <a:cs typeface="Arial" pitchFamily="34" charset="0"/>
                </a:rPr>
                <a:t>ME</a:t>
              </a: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4" name="Rectangle 126"/>
            <p:cNvSpPr>
              <a:spLocks noChangeArrowheads="1"/>
            </p:cNvSpPr>
            <p:nvPr/>
          </p:nvSpPr>
          <p:spPr bwMode="gray">
            <a:xfrm>
              <a:off x="5240" y="1908"/>
              <a:ext cx="160" cy="1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 dirty="0" smtClean="0">
                  <a:latin typeface="Arial" pitchFamily="34" charset="0"/>
                  <a:cs typeface="Arial" pitchFamily="34" charset="0"/>
                </a:rPr>
                <a:t>DE</a:t>
              </a: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5" name="Rectangle 127"/>
            <p:cNvSpPr>
              <a:spLocks noChangeArrowheads="1"/>
            </p:cNvSpPr>
            <p:nvPr/>
          </p:nvSpPr>
          <p:spPr bwMode="gray">
            <a:xfrm>
              <a:off x="5241" y="1804"/>
              <a:ext cx="160" cy="1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 dirty="0" smtClean="0">
                  <a:latin typeface="Arial" pitchFamily="34" charset="0"/>
                  <a:cs typeface="Arial" pitchFamily="34" charset="0"/>
                </a:rPr>
                <a:t>NJ</a:t>
              </a: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6" name="Rectangle 130"/>
            <p:cNvSpPr>
              <a:spLocks noChangeArrowheads="1"/>
            </p:cNvSpPr>
            <p:nvPr/>
          </p:nvSpPr>
          <p:spPr bwMode="gray">
            <a:xfrm>
              <a:off x="4809" y="1168"/>
              <a:ext cx="150" cy="11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 dirty="0" smtClean="0">
                  <a:latin typeface="Arial" pitchFamily="34" charset="0"/>
                  <a:cs typeface="Arial" pitchFamily="34" charset="0"/>
                </a:rPr>
                <a:t>VT</a:t>
              </a: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7" name="Rectangle 131"/>
            <p:cNvSpPr>
              <a:spLocks noChangeArrowheads="1"/>
            </p:cNvSpPr>
            <p:nvPr/>
          </p:nvSpPr>
          <p:spPr bwMode="gray">
            <a:xfrm>
              <a:off x="5241" y="1386"/>
              <a:ext cx="160" cy="1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 dirty="0" smtClean="0">
                  <a:latin typeface="Arial" pitchFamily="34" charset="0"/>
                  <a:cs typeface="Arial" pitchFamily="34" charset="0"/>
                </a:rPr>
                <a:t>NH</a:t>
              </a: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8" name="Rectangle 132"/>
            <p:cNvSpPr>
              <a:spLocks noChangeArrowheads="1"/>
            </p:cNvSpPr>
            <p:nvPr/>
          </p:nvSpPr>
          <p:spPr bwMode="gray">
            <a:xfrm>
              <a:off x="5241" y="1491"/>
              <a:ext cx="160" cy="1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 dirty="0" smtClean="0">
                  <a:latin typeface="Arial" pitchFamily="34" charset="0"/>
                  <a:cs typeface="Arial" pitchFamily="34" charset="0"/>
                </a:rPr>
                <a:t>MA</a:t>
              </a: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9" name="Rectangle 133"/>
            <p:cNvSpPr>
              <a:spLocks noChangeArrowheads="1"/>
            </p:cNvSpPr>
            <p:nvPr/>
          </p:nvSpPr>
          <p:spPr bwMode="gray">
            <a:xfrm>
              <a:off x="5241" y="1595"/>
              <a:ext cx="160" cy="1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 dirty="0" smtClean="0">
                  <a:latin typeface="Arial" pitchFamily="34" charset="0"/>
                  <a:cs typeface="Arial" pitchFamily="34" charset="0"/>
                </a:rPr>
                <a:t>RI</a:t>
              </a: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0" name="Rectangle 134"/>
            <p:cNvSpPr>
              <a:spLocks noChangeArrowheads="1"/>
            </p:cNvSpPr>
            <p:nvPr/>
          </p:nvSpPr>
          <p:spPr bwMode="gray">
            <a:xfrm>
              <a:off x="5241" y="2012"/>
              <a:ext cx="160" cy="1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 dirty="0" smtClean="0">
                  <a:latin typeface="Arial" pitchFamily="34" charset="0"/>
                  <a:cs typeface="Arial" pitchFamily="34" charset="0"/>
                </a:rPr>
                <a:t>MD</a:t>
              </a: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1" name="Rectangle 135"/>
            <p:cNvSpPr>
              <a:spLocks noChangeArrowheads="1"/>
            </p:cNvSpPr>
            <p:nvPr/>
          </p:nvSpPr>
          <p:spPr bwMode="gray">
            <a:xfrm>
              <a:off x="5241" y="2116"/>
              <a:ext cx="160" cy="1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 dirty="0" smtClean="0">
                  <a:latin typeface="Arial" pitchFamily="34" charset="0"/>
                  <a:cs typeface="Arial" pitchFamily="34" charset="0"/>
                </a:rPr>
                <a:t>DC</a:t>
              </a: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2" name="Rectangle 136"/>
            <p:cNvSpPr>
              <a:spLocks noChangeArrowheads="1"/>
            </p:cNvSpPr>
            <p:nvPr/>
          </p:nvSpPr>
          <p:spPr bwMode="gray">
            <a:xfrm>
              <a:off x="5241" y="1699"/>
              <a:ext cx="160" cy="1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 dirty="0" smtClean="0">
                  <a:latin typeface="Arial" pitchFamily="34" charset="0"/>
                  <a:cs typeface="Arial" pitchFamily="34" charset="0"/>
                </a:rPr>
                <a:t>CT</a:t>
              </a: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3" name="Rectangle 138"/>
            <p:cNvSpPr>
              <a:spLocks noChangeArrowheads="1"/>
            </p:cNvSpPr>
            <p:nvPr/>
          </p:nvSpPr>
          <p:spPr bwMode="gray">
            <a:xfrm>
              <a:off x="3463" y="2953"/>
              <a:ext cx="146" cy="11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 dirty="0" smtClean="0">
                  <a:latin typeface="Arial" pitchFamily="34" charset="0"/>
                  <a:cs typeface="Arial" pitchFamily="34" charset="0"/>
                </a:rPr>
                <a:t>LA</a:t>
              </a: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4" name="Rectangle 173"/>
            <p:cNvSpPr>
              <a:spLocks noChangeArrowheads="1"/>
            </p:cNvSpPr>
            <p:nvPr/>
          </p:nvSpPr>
          <p:spPr bwMode="gray">
            <a:xfrm>
              <a:off x="1031" y="3302"/>
              <a:ext cx="152" cy="11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 dirty="0" smtClean="0">
                  <a:latin typeface="Arial" pitchFamily="34" charset="0"/>
                  <a:cs typeface="Arial" pitchFamily="34" charset="0"/>
                </a:rPr>
                <a:t>AK</a:t>
              </a: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5" name="Line 182"/>
            <p:cNvSpPr>
              <a:spLocks noChangeShapeType="1"/>
            </p:cNvSpPr>
            <p:nvPr/>
          </p:nvSpPr>
          <p:spPr bwMode="gray">
            <a:xfrm rot="5400000">
              <a:off x="4834" y="1318"/>
              <a:ext cx="96" cy="2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none" w="lg" len="lg"/>
              <a:tailEnd type="none" w="lg" len="lg"/>
            </a:ln>
          </p:spPr>
          <p:txBody>
            <a:bodyPr wrap="none" t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6" name="Line 181"/>
            <p:cNvSpPr>
              <a:spLocks noChangeShapeType="1"/>
            </p:cNvSpPr>
            <p:nvPr/>
          </p:nvSpPr>
          <p:spPr bwMode="gray">
            <a:xfrm>
              <a:off x="5003" y="1440"/>
              <a:ext cx="217" cy="3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none" w="lg" len="lg"/>
              <a:tailEnd type="none" w="lg" len="lg"/>
            </a:ln>
          </p:spPr>
          <p:txBody>
            <a:bodyPr wrap="none" t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7" name="Line 183"/>
            <p:cNvSpPr>
              <a:spLocks noChangeShapeType="1"/>
            </p:cNvSpPr>
            <p:nvPr/>
          </p:nvSpPr>
          <p:spPr bwMode="gray">
            <a:xfrm flipV="1">
              <a:off x="5025" y="1545"/>
              <a:ext cx="195" cy="37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none" w="lg" len="lg"/>
              <a:tailEnd type="none" w="lg" len="lg"/>
            </a:ln>
          </p:spPr>
          <p:txBody>
            <a:bodyPr wrap="none" t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8" name="Line 184"/>
            <p:cNvSpPr>
              <a:spLocks noChangeShapeType="1"/>
            </p:cNvSpPr>
            <p:nvPr/>
          </p:nvSpPr>
          <p:spPr bwMode="gray">
            <a:xfrm>
              <a:off x="5058" y="1637"/>
              <a:ext cx="162" cy="1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none" w="lg" len="lg"/>
              <a:tailEnd type="none" w="lg" len="lg"/>
            </a:ln>
          </p:spPr>
          <p:txBody>
            <a:bodyPr wrap="none" t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9" name="Line 185"/>
            <p:cNvSpPr>
              <a:spLocks noChangeShapeType="1"/>
            </p:cNvSpPr>
            <p:nvPr/>
          </p:nvSpPr>
          <p:spPr bwMode="gray">
            <a:xfrm>
              <a:off x="4968" y="1668"/>
              <a:ext cx="252" cy="83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none" w="lg" len="lg"/>
              <a:tailEnd type="none" w="lg" len="lg"/>
            </a:ln>
          </p:spPr>
          <p:txBody>
            <a:bodyPr wrap="none" t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0" name="Line 186"/>
            <p:cNvSpPr>
              <a:spLocks noChangeShapeType="1"/>
            </p:cNvSpPr>
            <p:nvPr/>
          </p:nvSpPr>
          <p:spPr bwMode="gray">
            <a:xfrm flipV="1">
              <a:off x="4900" y="1863"/>
              <a:ext cx="320" cy="7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none" w="lg" len="lg"/>
              <a:tailEnd type="none" w="lg" len="lg"/>
            </a:ln>
          </p:spPr>
          <p:txBody>
            <a:bodyPr wrap="none" t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1" name="Line 187"/>
            <p:cNvSpPr>
              <a:spLocks noChangeShapeType="1"/>
            </p:cNvSpPr>
            <p:nvPr/>
          </p:nvSpPr>
          <p:spPr bwMode="gray">
            <a:xfrm>
              <a:off x="4833" y="1960"/>
              <a:ext cx="387" cy="3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none" w="lg" len="lg"/>
              <a:tailEnd type="none" w="lg" len="lg"/>
            </a:ln>
          </p:spPr>
          <p:txBody>
            <a:bodyPr wrap="none" t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2" name="Line 188"/>
            <p:cNvSpPr>
              <a:spLocks noChangeShapeType="1"/>
            </p:cNvSpPr>
            <p:nvPr/>
          </p:nvSpPr>
          <p:spPr bwMode="gray">
            <a:xfrm>
              <a:off x="4725" y="1992"/>
              <a:ext cx="495" cy="8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none" w="lg" len="lg"/>
              <a:tailEnd type="none" w="lg" len="lg"/>
            </a:ln>
          </p:spPr>
          <p:txBody>
            <a:bodyPr wrap="none" t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3" name="Line 189"/>
            <p:cNvSpPr>
              <a:spLocks noChangeShapeType="1"/>
            </p:cNvSpPr>
            <p:nvPr/>
          </p:nvSpPr>
          <p:spPr bwMode="gray">
            <a:xfrm>
              <a:off x="4693" y="2027"/>
              <a:ext cx="527" cy="139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none" w="lg" len="lg"/>
              <a:tailEnd type="none" w="lg" len="lg"/>
            </a:ln>
          </p:spPr>
          <p:txBody>
            <a:bodyPr wrap="none" t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4" name="Rectangle 137"/>
            <p:cNvSpPr>
              <a:spLocks noChangeArrowheads="1"/>
            </p:cNvSpPr>
            <p:nvPr/>
          </p:nvSpPr>
          <p:spPr bwMode="gray">
            <a:xfrm>
              <a:off x="2487" y="3765"/>
              <a:ext cx="132" cy="108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900" dirty="0" smtClean="0">
                  <a:latin typeface="Arial" pitchFamily="34" charset="0"/>
                  <a:cs typeface="Arial" pitchFamily="34" charset="0"/>
                </a:rPr>
                <a:t>HI</a:t>
              </a:r>
              <a:endParaRPr lang="en-GB" sz="900" dirty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58" name="Subtitle 1"/>
          <p:cNvSpPr txBox="1">
            <a:spLocks/>
          </p:cNvSpPr>
          <p:nvPr/>
        </p:nvSpPr>
        <p:spPr>
          <a:xfrm>
            <a:off x="3106616" y="6647934"/>
            <a:ext cx="3692769" cy="184666"/>
          </a:xfrm>
          <a:prstGeom prst="rect">
            <a:avLst/>
          </a:prstGeom>
        </p:spPr>
        <p:txBody>
          <a:bodyPr lIns="0" tIns="0" rIns="0" bIns="0" anchor="ctr"/>
          <a:lstStyle>
            <a:lvl1pPr marL="154227" indent="-154227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rgbClr val="606060"/>
                </a:solidFill>
                <a:latin typeface="+mn-lt"/>
                <a:ea typeface="+mn-ea"/>
                <a:cs typeface="Arial" pitchFamily="34" charset="0"/>
              </a:defRPr>
            </a:lvl1pPr>
            <a:lvl2pPr marL="304396" indent="-150169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Homebase 12 Light" panose="020B0300000000000000" pitchFamily="34" charset="0"/>
              <a:buChar char="–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Arial" pitchFamily="34" charset="0"/>
              </a:defRPr>
            </a:lvl2pPr>
            <a:lvl3pPr marL="458623" indent="-154227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Arial" pitchFamily="34" charset="0"/>
              </a:defRPr>
            </a:lvl3pPr>
            <a:lvl4pPr marL="612849" indent="-154227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Homebase 12 Light" panose="020B0300000000000000" pitchFamily="34" charset="0"/>
              <a:buChar char="–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Arial" pitchFamily="34" charset="0"/>
              </a:defRPr>
            </a:lvl4pPr>
            <a:lvl5pPr marL="763017" indent="-150169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Arial" pitchFamily="34" charset="0"/>
              </a:defRPr>
            </a:lvl5pPr>
            <a:lvl6pPr marL="917244" indent="-154227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Homebase 12 Light" panose="020B0300000000000000" pitchFamily="34" charset="0"/>
              <a:buChar char="–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+mn-cs"/>
              </a:defRPr>
            </a:lvl6pPr>
            <a:lvl7pPr marL="1071471" indent="-154227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+mn-cs"/>
              </a:defRPr>
            </a:lvl7pPr>
            <a:lvl8pPr marL="1221640" indent="-150169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Homebase 12 Light" panose="020B0300000000000000" pitchFamily="34" charset="0"/>
              <a:buChar char="–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+mn-cs"/>
              </a:defRPr>
            </a:lvl8pPr>
            <a:lvl9pPr marL="1375867" indent="-154227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 smtClean="0"/>
              <a:t>www.presentationdepot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42753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90795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8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4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7&quot;&gt;&lt;elem m_fUsage=&quot;4.37140403910000063803E+00&quot;&gt;&lt;m_msothmcolidx val=&quot;0&quot;/&gt;&lt;m_rgb r=&quot;FF&quot; g=&quot;AC&quot; b=&quot;00&quot;/&gt;&lt;m_nBrightness val=&quot;0&quot;/&gt;&lt;/elem&gt;&lt;elem m_fUsage=&quot;2.03508517176729952780E+00&quot;&gt;&lt;m_msothmcolidx val=&quot;0&quot;/&gt;&lt;m_rgb r=&quot;A8&quot; g=&quot;D3&quot; b=&quot;63&quot;/&gt;&lt;m_nBrightness val=&quot;0&quot;/&gt;&lt;/elem&gt;&lt;elem m_fUsage=&quot;1.35536415686239886114E+00&quot;&gt;&lt;m_msothmcolidx val=&quot;0&quot;/&gt;&lt;m_rgb r=&quot;C2&quot; g=&quot;21&quot; b=&quot;95&quot;/&gt;&lt;m_nBrightness val=&quot;0&quot;/&gt;&lt;/elem&gt;&lt;elem m_fUsage=&quot;7.19093540380483786656E-01&quot;&gt;&lt;m_msothmcolidx val=&quot;0&quot;/&gt;&lt;m_rgb r=&quot;0B&quot; g=&quot;61&quot; b=&quot;82&quot;/&gt;&lt;m_nBrightness val=&quot;0&quot;/&gt;&lt;/elem&gt;&lt;elem m_fUsage=&quot;4.35387250680569437566E-01&quot;&gt;&lt;m_msothmcolidx val=&quot;0&quot;/&gt;&lt;m_rgb r=&quot;73&quot; g=&quot;A6&quot; b=&quot;30&quot;/&gt;&lt;m_nBrightness val=&quot;0&quot;/&gt;&lt;/elem&gt;&lt;elem m_fUsage=&quot;3.70700645107792214894E-01&quot;&gt;&lt;m_msothmcolidx val=&quot;0&quot;/&gt;&lt;m_rgb r=&quot;AD&quot; g=&quot;AF&quot; b=&quot;AE&quot;/&gt;&lt;m_nBrightness val=&quot;0&quot;/&gt;&lt;/elem&gt;&lt;elem m_fUsage=&quot;3.28978213573395072977E-01&quot;&gt;&lt;m_msothmcolidx val=&quot;0&quot;/&gt;&lt;m_rgb r=&quot;EF&quot; g=&quot;2B&quot; b=&quot;7D&quot;/&gt;&lt;m_nBrightness val=&quot;0&quot;/&gt;&lt;/elem&gt;&lt;elem m_fUsage=&quot;2.50959036055151463174E-01&quot;&gt;&lt;m_msothmcolidx val=&quot;0&quot;/&gt;&lt;m_rgb r=&quot;F2&quot; g=&quot;C5&quot; b=&quot;E4&quot;/&gt;&lt;m_nBrightness val=&quot;0&quot;/&gt;&lt;/elem&gt;&lt;elem m_fUsage=&quot;2.52753098298531646282E-02&quot;&gt;&lt;m_msothmcolidx val=&quot;0&quot;/&gt;&lt;m_rgb r=&quot;FF&quot; g=&quot;7C&quot; b=&quot;80&quot;/&gt;&lt;m_nBrightness val=&quot;0&quot;/&gt;&lt;/elem&gt;&lt;elem m_fUsage=&quot;1.71379491054417798512E-02&quot;&gt;&lt;m_msothmcolidx val=&quot;0&quot;/&gt;&lt;m_rgb r=&quot;80&quot; g=&quot;A7&quot; b=&quot;A2&quot;/&gt;&lt;m_nBrightness val=&quot;0&quot;/&gt;&lt;/elem&gt;&lt;elem m_fUsage=&quot;9.69773729787524671475E-03&quot;&gt;&lt;m_msothmcolidx val=&quot;0&quot;/&gt;&lt;m_rgb r=&quot;1B&quot; g=&quot;31&quot; b=&quot;44&quot;/&gt;&lt;m_nBrightness val=&quot;0&quot;/&gt;&lt;/elem&gt;&lt;elem m_fUsage=&quot;8.72796356808772273717E-03&quot;&gt;&lt;m_msothmcolidx val=&quot;0&quot;/&gt;&lt;m_rgb r=&quot;40&quot; g=&quot;7A&quot; b=&quot;AA&quot;/&gt;&lt;m_nBrightness val=&quot;0&quot;/&gt;&lt;/elem&gt;&lt;elem m_fUsage=&quot;7.85516721127895063692E-03&quot;&gt;&lt;m_msothmcolidx val=&quot;0&quot;/&gt;&lt;m_rgb r=&quot;40&quot; g=&quot;FF&quot; b=&quot;AA&quot;/&gt;&lt;m_nBrightness val=&quot;0&quot;/&gt;&lt;/elem&gt;&lt;elem m_fUsage=&quot;7.06965049015105539976E-03&quot;&gt;&lt;m_msothmcolidx val=&quot;0&quot;/&gt;&lt;m_rgb r=&quot;9A&quot; g=&quot;BD&quot; b=&quot;DA&quot;/&gt;&lt;m_nBrightness val=&quot;0&quot;/&gt;&lt;/elem&gt;&lt;elem m_fUsage=&quot;5.72641689702235463094E-03&quot;&gt;&lt;m_msothmcolidx val=&quot;0&quot;/&gt;&lt;m_rgb r=&quot;E2&quot; g=&quot;E2&quot; b=&quot;E2&quot;/&gt;&lt;m_nBrightness val=&quot;0&quot;/&gt;&lt;/elem&gt;&lt;elem m_fUsage=&quot;5.15377520732011960153E-03&quot;&gt;&lt;m_msothmcolidx val=&quot;0&quot;/&gt;&lt;m_rgb r=&quot;C0&quot; g=&quot;00&quot; b=&quot;00&quot;/&gt;&lt;m_nBrightness val=&quot;0&quot;/&gt;&lt;/elem&gt;&lt;elem m_fUsage=&quot;4.63839768658810738117E-03&quot;&gt;&lt;m_msothmcolidx val=&quot;0&quot;/&gt;&lt;m_rgb r=&quot;E9&quot; g=&quot;D8&quot; b=&quot;D8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ZnlrlpZUKL2uAQmUkJa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t.zerweEu24TfT0MjUX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ZCzaDJvEqsBql6YTGc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nwnfE2_0uMKD8uP9XV_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hbsjJD1UaVy8AvQcf2Q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1Kr..vMUaY.RxxZ_rHn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5kpiBGRHUGq9B5IVlkbJ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j.WkWA20265065Gnn3B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OFMZtzjUKR6tsNDBJbv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VhFN2vx0ae22IcWuw0Q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OZtKLVik6sU2pMY7SHD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umoWOzO0KrE5WpMGPvJ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jCKhgiCEC3pO3gA2AU4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H49VceQkuYiV8WEUZI5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Zsb2dU1kS7jg9JEXkWo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Vpqgi8WkGEPRe7ghoDi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aUEcXVpky74ziiJ2f1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YArF6gcUWxy5foEbNe8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nUCBZAN06SS3V8Fg.Rl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LExfgGQkGEqfnMlx4Hs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kuo.ls20eXUMRUu9kE5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kFBaVeT0OuWt4b97K0D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455AkkFkeCpLLrxiICK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9BnxELkUm5lh5_a.vxQ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aUpS6KhEGbH5lbjnM5n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47wC3vl9US_Oq3AcZ9nK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.0h7RNiW0CwoQjdA_1i4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wEBcZdDEKV3ee74IgmD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1U0QI3TikmL14Q7gRrYr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hOZgsiEoE2.c8j1TrzPc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T0IF2Ik0SbF.U9bY1Fc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ef2ZDzGku9sxEG1MayD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jUDHymxkmCRipVYfBxx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ZVDz6S.90Ck6sCmVvOB3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0YyP2MZ0OUJVu3PC3TK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1RV8Gs5J0KvkDjNqcqCj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8pq0T5Tl025o93I73rqj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iMB4DcFEu_fgKRd5ONC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.YDfJymYUaRyXpnrxyF9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V0313dd0eb.d3TIZ1i9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QDjN3T20qlnTfeoGH6A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7nh92Vn5U.LeochwSNl_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SkjTu0N0e5Hq3sV_MWF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t8ClTfYUyw4ti2nrLj.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OdI_5FzkufUukL.DKaG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Qo2rxtzUy3I1ijDy27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rEOliKuUSXvkF9xLEB6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0O2ExymsUCoO2wYXcm2U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5Nbb5jQECqXl9jf835L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Zze6kAEEe.MPKO5nQnhw"/>
</p:tagLst>
</file>

<file path=ppt/theme/theme1.xml><?xml version="1.0" encoding="utf-8"?>
<a:theme xmlns:a="http://schemas.openxmlformats.org/drawingml/2006/main" name="www.presentationdepot.com">
  <a:themeElements>
    <a:clrScheme name="SaleTemplate">
      <a:dk1>
        <a:srgbClr val="4D4D4D"/>
      </a:dk1>
      <a:lt1>
        <a:sysClr val="window" lastClr="FFFFFF"/>
      </a:lt1>
      <a:dk2>
        <a:srgbClr val="44546A"/>
      </a:dk2>
      <a:lt2>
        <a:srgbClr val="E7E6E6"/>
      </a:lt2>
      <a:accent1>
        <a:srgbClr val="85D7E2"/>
      </a:accent1>
      <a:accent2>
        <a:srgbClr val="D8CD33"/>
      </a:accent2>
      <a:accent3>
        <a:srgbClr val="FFC000"/>
      </a:accent3>
      <a:accent4>
        <a:srgbClr val="6DC561"/>
      </a:accent4>
      <a:accent5>
        <a:srgbClr val="209583"/>
      </a:accent5>
      <a:accent6>
        <a:srgbClr val="006181"/>
      </a:accent6>
      <a:hlink>
        <a:srgbClr val="0563C1"/>
      </a:hlink>
      <a:folHlink>
        <a:srgbClr val="00B0F0"/>
      </a:folHlink>
    </a:clrScheme>
    <a:fontScheme name="PresentationDepo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14400" rtl="0" eaLnBrk="1" latinLnBrk="0" hangingPunct="1">
          <a:lnSpc>
            <a:spcPct val="100000"/>
          </a:lnSpc>
          <a:spcBef>
            <a:spcPts val="0"/>
          </a:spcBef>
          <a:defRPr sz="1600" kern="1200" dirty="0" err="1" smtClean="0">
            <a:solidFill>
              <a:schemeClr val="bg1"/>
            </a:solidFill>
            <a:ea typeface="+mn-ea"/>
            <a:cs typeface="Arial" pitchFamily="34" charset="0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vert="horz" wrap="square" lIns="0" tIns="0" rIns="0" bIns="0" rtlCol="0" anchor="t">
        <a:noAutofit/>
      </a:bodyPr>
      <a:lstStyle>
        <a:defPPr>
          <a:spcBef>
            <a:spcPts val="600"/>
          </a:spcBef>
          <a:defRPr dirty="0">
            <a:solidFill>
              <a:srgbClr val="606060"/>
            </a:solidFill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homebase_powerpoint_reference" id="{0E9D8AD1-8E71-4DFE-A5BA-7881B05EE539}" vid="{EBA5347E-39C8-4B9C-AE86-1CDF9F15046E}"/>
    </a:ext>
  </a:extLst>
</a:theme>
</file>

<file path=ppt/theme/theme2.xml><?xml version="1.0" encoding="utf-8"?>
<a:theme xmlns:a="http://schemas.openxmlformats.org/drawingml/2006/main" name="Office Theme">
  <a:themeElements>
    <a:clrScheme name="Cognizant">
      <a:dk1>
        <a:srgbClr val="606060"/>
      </a:dk1>
      <a:lt1>
        <a:sysClr val="window" lastClr="FFFFFF"/>
      </a:lt1>
      <a:dk2>
        <a:srgbClr val="3E9AC0"/>
      </a:dk2>
      <a:lt2>
        <a:srgbClr val="FFFFFF"/>
      </a:lt2>
      <a:accent1>
        <a:srgbClr val="63AFE5"/>
      </a:accent1>
      <a:accent2>
        <a:srgbClr val="B1D295"/>
      </a:accent2>
      <a:accent3>
        <a:srgbClr val="E1AD00"/>
      </a:accent3>
      <a:accent4>
        <a:srgbClr val="3E9AC0"/>
      </a:accent4>
      <a:accent5>
        <a:srgbClr val="2D9F01"/>
      </a:accent5>
      <a:accent6>
        <a:srgbClr val="134575"/>
      </a:accent6>
      <a:hlink>
        <a:srgbClr val="98CB00"/>
      </a:hlink>
      <a:folHlink>
        <a:srgbClr val="5B77BC"/>
      </a:folHlink>
    </a:clrScheme>
    <a:fontScheme name="Dalberg-2018">
      <a:majorFont>
        <a:latin typeface="Lato"/>
        <a:ea typeface=""/>
        <a:cs typeface=""/>
      </a:majorFont>
      <a:minorFont>
        <a:latin typeface="La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ognizant">
      <a:dk1>
        <a:srgbClr val="606060"/>
      </a:dk1>
      <a:lt1>
        <a:sysClr val="window" lastClr="FFFFFF"/>
      </a:lt1>
      <a:dk2>
        <a:srgbClr val="3E9AC0"/>
      </a:dk2>
      <a:lt2>
        <a:srgbClr val="FFFFFF"/>
      </a:lt2>
      <a:accent1>
        <a:srgbClr val="63AFE5"/>
      </a:accent1>
      <a:accent2>
        <a:srgbClr val="B1D295"/>
      </a:accent2>
      <a:accent3>
        <a:srgbClr val="E1AD00"/>
      </a:accent3>
      <a:accent4>
        <a:srgbClr val="3E9AC0"/>
      </a:accent4>
      <a:accent5>
        <a:srgbClr val="2D9F01"/>
      </a:accent5>
      <a:accent6>
        <a:srgbClr val="134575"/>
      </a:accent6>
      <a:hlink>
        <a:srgbClr val="98CB00"/>
      </a:hlink>
      <a:folHlink>
        <a:srgbClr val="5B77BC"/>
      </a:folHlink>
    </a:clrScheme>
    <a:fontScheme name="Dalberg-2018">
      <a:majorFont>
        <a:latin typeface="Lato"/>
        <a:ea typeface=""/>
        <a:cs typeface=""/>
      </a:majorFont>
      <a:minorFont>
        <a:latin typeface="La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-ChargeCode-COG2138</Template>
  <TotalTime>66</TotalTime>
  <Words>66</Words>
  <Application>Microsoft Office PowerPoint</Application>
  <PresentationFormat>A4 Paper (210x297 mm)</PresentationFormat>
  <Paragraphs>55</Paragraphs>
  <Slides>3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5" baseType="lpstr">
      <vt:lpstr>www.presentationdepot.com</vt:lpstr>
      <vt:lpstr>think-cell Slide</vt:lpstr>
      <vt:lpstr>PowerPoint Presentation</vt:lpstr>
      <vt:lpstr>Fully editable map of the United States of America</vt:lpstr>
      <vt:lpstr>PowerPoint Presentation</vt:lpstr>
    </vt:vector>
  </TitlesOfParts>
  <Company>www.presentationdepot.com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ditable map of the United States of America by www.presentationdepot.com</dc:title>
  <dc:subject>editable map of the United States of America by www.presentationdepot.com</dc:subject>
  <dc:creator>www.presentationdepot.com</dc:creator>
  <cp:keywords>www.presentationdepot.com;powerpoint us map;editable powerpoint map;us map outline</cp:keywords>
  <dc:description>editable map of the United States of America by www.presentationdepot.com</dc:description>
  <cp:lastModifiedBy>Rajesh</cp:lastModifiedBy>
  <cp:revision>23</cp:revision>
  <cp:lastPrinted>2018-06-13T20:48:11Z</cp:lastPrinted>
  <dcterms:created xsi:type="dcterms:W3CDTF">2018-10-14T02:56:34Z</dcterms:created>
  <dcterms:modified xsi:type="dcterms:W3CDTF">2018-10-23T15:15:29Z</dcterms:modified>
  <cp:category>editable map of the United States of America by www.presentationdepot.com</cp:category>
</cp:coreProperties>
</file>